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2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3.xml" ContentType="application/vnd.openxmlformats-officedocument.them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2" r:id="rId1"/>
    <p:sldMasterId id="2147483835" r:id="rId2"/>
    <p:sldMasterId id="2147483908" r:id="rId3"/>
  </p:sldMasterIdLst>
  <p:notesMasterIdLst>
    <p:notesMasterId r:id="rId7"/>
  </p:notesMasterIdLst>
  <p:handoutMasterIdLst>
    <p:handoutMasterId r:id="rId8"/>
  </p:handoutMasterIdLst>
  <p:sldIdLst>
    <p:sldId id="265" r:id="rId4"/>
    <p:sldId id="266" r:id="rId5"/>
    <p:sldId id="256" r:id="rId6"/>
  </p:sldIdLst>
  <p:sldSz cx="9217025" cy="5184775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9088C1F-2A9D-4951-8F1B-1BD431A76EE0}">
          <p14:sldIdLst>
            <p14:sldId id="265"/>
            <p14:sldId id="266"/>
            <p14:sldId id="25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36">
          <p15:clr>
            <a:srgbClr val="A4A3A4"/>
          </p15:clr>
        </p15:guide>
        <p15:guide id="2" orient="horz" pos="2994">
          <p15:clr>
            <a:srgbClr val="A4A3A4"/>
          </p15:clr>
        </p15:guide>
        <p15:guide id="3" orient="horz" pos="635">
          <p15:clr>
            <a:srgbClr val="A4A3A4"/>
          </p15:clr>
        </p15:guide>
        <p15:guide id="4" orient="horz" pos="1814">
          <p15:clr>
            <a:srgbClr val="A4A3A4"/>
          </p15:clr>
        </p15:guide>
        <p15:guide id="5" orient="horz" pos="1951">
          <p15:clr>
            <a:srgbClr val="A4A3A4"/>
          </p15:clr>
        </p15:guide>
        <p15:guide id="6" orient="horz" pos="771">
          <p15:clr>
            <a:srgbClr val="A4A3A4"/>
          </p15:clr>
        </p15:guide>
        <p15:guide id="7" orient="horz" pos="3130">
          <p15:clr>
            <a:srgbClr val="A4A3A4"/>
          </p15:clr>
        </p15:guide>
        <p15:guide id="8" orient="horz" pos="272">
          <p15:clr>
            <a:srgbClr val="A4A3A4"/>
          </p15:clr>
        </p15:guide>
        <p15:guide id="9" pos="136">
          <p15:clr>
            <a:srgbClr val="A4A3A4"/>
          </p15:clr>
        </p15:guide>
        <p15:guide id="10" pos="5670">
          <p15:clr>
            <a:srgbClr val="A4A3A4"/>
          </p15:clr>
        </p15:guide>
        <p15:guide id="11" pos="771">
          <p15:clr>
            <a:srgbClr val="A4A3A4"/>
          </p15:clr>
        </p15:guide>
        <p15:guide id="12" pos="3084">
          <p15:clr>
            <a:srgbClr val="A4A3A4"/>
          </p15:clr>
        </p15:guide>
        <p15:guide id="13" pos="5534">
          <p15:clr>
            <a:srgbClr val="A4A3A4"/>
          </p15:clr>
        </p15:guide>
        <p15:guide id="14" pos="3221">
          <p15:clr>
            <a:srgbClr val="A4A3A4"/>
          </p15:clr>
        </p15:guide>
        <p15:guide id="15" pos="635">
          <p15:clr>
            <a:srgbClr val="A4A3A4"/>
          </p15:clr>
        </p15:guide>
        <p15:guide id="16" pos="272">
          <p15:clr>
            <a:srgbClr val="A4A3A4"/>
          </p15:clr>
        </p15:guide>
        <p15:guide id="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7D00"/>
    <a:srgbClr val="F5D200"/>
    <a:srgbClr val="DA1D52"/>
    <a:srgbClr val="007932"/>
    <a:srgbClr val="FFFFFF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4" d="100"/>
          <a:sy n="84" d="100"/>
        </p:scale>
        <p:origin x="894" y="84"/>
      </p:cViewPr>
      <p:guideLst>
        <p:guide orient="horz" pos="136"/>
        <p:guide orient="horz" pos="2994"/>
        <p:guide orient="horz" pos="635"/>
        <p:guide orient="horz" pos="1814"/>
        <p:guide orient="horz" pos="1951"/>
        <p:guide orient="horz" pos="771"/>
        <p:guide orient="horz" pos="3130"/>
        <p:guide orient="horz" pos="272"/>
        <p:guide pos="136"/>
        <p:guide pos="5670"/>
        <p:guide pos="771"/>
        <p:guide pos="3084"/>
        <p:guide pos="5534"/>
        <p:guide pos="3221"/>
        <p:guide pos="635"/>
        <p:guide pos="272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/>
              <a:t>WWF Präsenta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C9D932-36C6-46B5-8AE5-F1C81268B8A2}" type="datetime4">
              <a:rPr lang="de-DE" smtClean="0"/>
              <a:t>23. Januar 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Titel | Anlas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F15DBC-B6B6-4DF4-9407-783B9B50B62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4959932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/>
              <a:t>WWF Präsentatio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9759EF-90E8-4FD3-975C-A1E18D838ED6}" type="datetime4">
              <a:rPr lang="de-DE" smtClean="0"/>
              <a:t>23. Januar 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04664" y="4355976"/>
            <a:ext cx="6048672" cy="388843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Titel | Anlass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7BFB28-506E-4182-8671-0A7F82A5D80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1619909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44000" indent="-144000" algn="l" defTabSz="914400" rtl="0" eaLnBrk="1" latinLnBrk="0" hangingPunct="1">
      <a:spcBef>
        <a:spcPts val="400"/>
      </a:spcBef>
      <a:buClr>
        <a:schemeClr val="accent1"/>
      </a:buClr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88000" indent="-144000" algn="l" defTabSz="914400" rtl="0" eaLnBrk="1" latinLnBrk="0" hangingPunct="1">
      <a:spcBef>
        <a:spcPts val="400"/>
      </a:spcBef>
      <a:buClr>
        <a:schemeClr val="accent1"/>
      </a:buClr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432000" indent="-144000" algn="l" defTabSz="914400" rtl="0" eaLnBrk="1" latinLnBrk="0" hangingPunct="1">
      <a:spcBef>
        <a:spcPts val="400"/>
      </a:spcBef>
      <a:buClr>
        <a:schemeClr val="accent1"/>
      </a:buClr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576000" indent="-144000" algn="l" defTabSz="914400" rtl="0" eaLnBrk="1" latinLnBrk="0" hangingPunct="1">
      <a:spcBef>
        <a:spcPts val="400"/>
      </a:spcBef>
      <a:buClr>
        <a:schemeClr val="accent1"/>
      </a:buClr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720000" indent="-144000" algn="l" defTabSz="914400" rtl="0" eaLnBrk="1" latinLnBrk="0" hangingPunct="1">
      <a:spcBef>
        <a:spcPts val="400"/>
      </a:spcBef>
      <a:buClr>
        <a:schemeClr val="accent1"/>
      </a:buClr>
      <a:buFont typeface="Wingdings" panose="05000000000000000000" pitchFamily="2" charset="2"/>
      <a:buChar char="§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2" name="Google Shape;81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554038" y="204788"/>
            <a:ext cx="8820150" cy="49609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13" name="Google Shape;813;p1:notes"/>
          <p:cNvSpPr txBox="1">
            <a:spLocks noGrp="1"/>
          </p:cNvSpPr>
          <p:nvPr>
            <p:ph type="body" idx="1"/>
          </p:nvPr>
        </p:nvSpPr>
        <p:spPr>
          <a:xfrm>
            <a:off x="133350" y="5370467"/>
            <a:ext cx="9661527" cy="65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75" tIns="46225" rIns="92475" bIns="46225" anchor="t" anchorCtr="0">
            <a:noAutofit/>
          </a:bodyPr>
          <a:lstStyle/>
          <a:p>
            <a:pPr marL="17145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Trebuchet MS"/>
              <a:buChar char="-"/>
            </a:pPr>
            <a:endParaRPr dirty="0"/>
          </a:p>
        </p:txBody>
      </p:sp>
      <p:sp>
        <p:nvSpPr>
          <p:cNvPr id="814" name="Google Shape;814;p1:notes"/>
          <p:cNvSpPr txBox="1">
            <a:spLocks noGrp="1"/>
          </p:cNvSpPr>
          <p:nvPr>
            <p:ph type="sldNum" idx="12"/>
          </p:nvPr>
        </p:nvSpPr>
        <p:spPr>
          <a:xfrm>
            <a:off x="5623701" y="6456613"/>
            <a:ext cx="4171177" cy="341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75" tIns="46225" rIns="92475" bIns="46225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GB"/>
              <a:t>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1" name="Google Shape;82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554038" y="204788"/>
            <a:ext cx="8820150" cy="49609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2" name="Google Shape;822;p2:notes"/>
          <p:cNvSpPr txBox="1">
            <a:spLocks noGrp="1"/>
          </p:cNvSpPr>
          <p:nvPr>
            <p:ph type="body" idx="1"/>
          </p:nvPr>
        </p:nvSpPr>
        <p:spPr>
          <a:xfrm>
            <a:off x="133350" y="5370467"/>
            <a:ext cx="9661527" cy="659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75" tIns="46225" rIns="92475" bIns="462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</a:pPr>
            <a:endParaRPr dirty="0"/>
          </a:p>
        </p:txBody>
      </p:sp>
      <p:sp>
        <p:nvSpPr>
          <p:cNvPr id="823" name="Google Shape;823;p2:notes"/>
          <p:cNvSpPr txBox="1">
            <a:spLocks noGrp="1"/>
          </p:cNvSpPr>
          <p:nvPr>
            <p:ph type="sldNum" idx="12"/>
          </p:nvPr>
        </p:nvSpPr>
        <p:spPr>
          <a:xfrm>
            <a:off x="5623701" y="6456613"/>
            <a:ext cx="4171177" cy="341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75" tIns="46225" rIns="92475" bIns="46225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GB"/>
              <a:t>Notes view: </a:t>
            </a:r>
            <a:fld id="{00000000-1234-1234-1234-123412341234}" type="slidenum">
              <a:rPr lang="en-GB"/>
              <a:t>2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g11d988c5ea2_0_84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8" name="Google Shape;478;g11d988c5ea2_0_84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2.xml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5.xml"/><Relationship Id="rId4" Type="http://schemas.openxmlformats.org/officeDocument/2006/relationships/image" Target="../media/image6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6.xml"/><Relationship Id="rId4" Type="http://schemas.openxmlformats.org/officeDocument/2006/relationships/image" Target="../media/image6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7.xml"/><Relationship Id="rId4" Type="http://schemas.openxmlformats.org/officeDocument/2006/relationships/image" Target="../media/image6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8.xml"/><Relationship Id="rId5" Type="http://schemas.openxmlformats.org/officeDocument/2006/relationships/image" Target="../media/image14.jpeg"/><Relationship Id="rId4" Type="http://schemas.openxmlformats.org/officeDocument/2006/relationships/image" Target="../media/image2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9.xml"/><Relationship Id="rId4" Type="http://schemas.openxmlformats.org/officeDocument/2006/relationships/image" Target="../media/image6.emf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8.xml"/><Relationship Id="rId4" Type="http://schemas.openxmlformats.org/officeDocument/2006/relationships/image" Target="../media/image6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3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3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0.xml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3.xml"/><Relationship Id="rId5" Type="http://schemas.openxmlformats.org/officeDocument/2006/relationships/image" Target="../media/image13.png"/><Relationship Id="rId4" Type="http://schemas.openxmlformats.org/officeDocument/2006/relationships/image" Target="../media/image2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6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7.xml"/><Relationship Id="rId4" Type="http://schemas.openxmlformats.org/officeDocument/2006/relationships/image" Target="../media/image6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8.xml"/><Relationship Id="rId4" Type="http://schemas.openxmlformats.org/officeDocument/2006/relationships/image" Target="../media/image6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9.xml"/><Relationship Id="rId4" Type="http://schemas.openxmlformats.org/officeDocument/2006/relationships/image" Target="../media/image6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0.xml"/><Relationship Id="rId5" Type="http://schemas.openxmlformats.org/officeDocument/2006/relationships/image" Target="../media/image14.jpeg"/><Relationship Id="rId4" Type="http://schemas.openxmlformats.org/officeDocument/2006/relationships/image" Target="../media/image2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1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4.xml"/><Relationship Id="rId4" Type="http://schemas.openxmlformats.org/officeDocument/2006/relationships/image" Target="../media/image1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5.xml"/><Relationship Id="rId4" Type="http://schemas.openxmlformats.org/officeDocument/2006/relationships/image" Target="../media/image1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6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9.xml"/><Relationship Id="rId4" Type="http://schemas.openxmlformats.org/officeDocument/2006/relationships/image" Target="../media/image1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0.xml"/><Relationship Id="rId4" Type="http://schemas.openxmlformats.org/officeDocument/2006/relationships/image" Target="../media/image1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1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2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225.xml"/><Relationship Id="rId7" Type="http://schemas.openxmlformats.org/officeDocument/2006/relationships/image" Target="../media/image7.jpg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image" Target="../media/image16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1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7" Type="http://schemas.openxmlformats.org/officeDocument/2006/relationships/image" Target="../media/image17.jpeg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image" Target="../media/image18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3.bin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1.xml"/><Relationship Id="rId4" Type="http://schemas.openxmlformats.org/officeDocument/2006/relationships/image" Target="../media/image6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6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7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8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7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0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1.xml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2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3.xml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8.xml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1.xml"/><Relationship Id="rId4" Type="http://schemas.openxmlformats.org/officeDocument/2006/relationships/image" Target="../media/image6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2.xml"/><Relationship Id="rId4" Type="http://schemas.openxmlformats.org/officeDocument/2006/relationships/image" Target="../media/image6.emf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3.xml"/><Relationship Id="rId4" Type="http://schemas.openxmlformats.org/officeDocument/2006/relationships/image" Target="../media/image6.emf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4.xml"/><Relationship Id="rId5" Type="http://schemas.openxmlformats.org/officeDocument/2006/relationships/image" Target="../media/image14.jpe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5.xml"/><Relationship Id="rId4" Type="http://schemas.openxmlformats.org/officeDocument/2006/relationships/image" Target="../media/image6.emf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277.xml"/><Relationship Id="rId1" Type="http://schemas.openxmlformats.org/officeDocument/2006/relationships/tags" Target="../tags/tag276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4.xml"/><Relationship Id="rId4" Type="http://schemas.openxmlformats.org/officeDocument/2006/relationships/image" Target="../media/image6.emf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9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3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3.xml"/><Relationship Id="rId1" Type="http://schemas.openxmlformats.org/officeDocument/2006/relationships/tags" Target="../tags/tag302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6.xml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0.xml"/><Relationship Id="rId1" Type="http://schemas.openxmlformats.org/officeDocument/2006/relationships/tags" Target="../tags/tag309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6.xml"/><Relationship Id="rId1" Type="http://schemas.openxmlformats.org/officeDocument/2006/relationships/tags" Target="../tags/tag31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8.xml"/><Relationship Id="rId1" Type="http://schemas.openxmlformats.org/officeDocument/2006/relationships/tags" Target="../tags/tag31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9.xml"/><Relationship Id="rId5" Type="http://schemas.openxmlformats.org/officeDocument/2006/relationships/image" Target="../media/image13.png"/><Relationship Id="rId4" Type="http://schemas.openxmlformats.org/officeDocument/2006/relationships/image" Target="../media/image2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1.xml"/><Relationship Id="rId1" Type="http://schemas.openxmlformats.org/officeDocument/2006/relationships/tags" Target="../tags/tag32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2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3.xml"/><Relationship Id="rId4" Type="http://schemas.openxmlformats.org/officeDocument/2006/relationships/image" Target="../media/image6.emf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4.xml"/><Relationship Id="rId4" Type="http://schemas.openxmlformats.org/officeDocument/2006/relationships/image" Target="../media/image6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5.xml"/><Relationship Id="rId4" Type="http://schemas.openxmlformats.org/officeDocument/2006/relationships/image" Target="../media/image6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6.xml"/><Relationship Id="rId5" Type="http://schemas.openxmlformats.org/officeDocument/2006/relationships/image" Target="../media/image14.jpeg"/><Relationship Id="rId4" Type="http://schemas.openxmlformats.org/officeDocument/2006/relationships/image" Target="../media/image2.e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7.xml"/><Relationship Id="rId4" Type="http://schemas.openxmlformats.org/officeDocument/2006/relationships/image" Target="../media/image6.emf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0.xml"/><Relationship Id="rId4" Type="http://schemas.openxmlformats.org/officeDocument/2006/relationships/image" Target="../media/image1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1.xml"/><Relationship Id="rId4" Type="http://schemas.openxmlformats.org/officeDocument/2006/relationships/image" Target="../media/image1.emf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2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4.xml"/><Relationship Id="rId1" Type="http://schemas.openxmlformats.org/officeDocument/2006/relationships/tags" Target="../tags/tag3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5.xml"/><Relationship Id="rId4" Type="http://schemas.openxmlformats.org/officeDocument/2006/relationships/image" Target="../media/image1.emf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6.xml"/><Relationship Id="rId4" Type="http://schemas.openxmlformats.org/officeDocument/2006/relationships/image" Target="../media/image1.emf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7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13.png"/><Relationship Id="rId4" Type="http://schemas.openxmlformats.org/officeDocument/2006/relationships/image" Target="../media/image11.emf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8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2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341.xml"/><Relationship Id="rId7" Type="http://schemas.openxmlformats.org/officeDocument/2006/relationships/image" Target="../media/image7.jpg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6" Type="http://schemas.openxmlformats.org/officeDocument/2006/relationships/image" Target="../media/image16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1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tags" Target="../tags/tag346.xml"/><Relationship Id="rId7" Type="http://schemas.openxmlformats.org/officeDocument/2006/relationships/image" Target="../media/image17.jpeg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image" Target="../media/image18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5" Type="http://schemas.openxmlformats.org/officeDocument/2006/relationships/image" Target="../media/image14.jpeg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7.xml"/><Relationship Id="rId5" Type="http://schemas.openxmlformats.org/officeDocument/2006/relationships/image" Target="../media/image13.png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0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4" Type="http://schemas.openxmlformats.org/officeDocument/2006/relationships/image" Target="../media/image6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2.xml"/><Relationship Id="rId4" Type="http://schemas.openxmlformats.org/officeDocument/2006/relationships/image" Target="../media/image6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3.xml"/><Relationship Id="rId4" Type="http://schemas.openxmlformats.org/officeDocument/2006/relationships/image" Target="../media/image6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4.xml"/><Relationship Id="rId5" Type="http://schemas.openxmlformats.org/officeDocument/2006/relationships/image" Target="../media/image14.jpeg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5.xml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0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4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5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6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109.xml"/><Relationship Id="rId7" Type="http://schemas.openxmlformats.org/officeDocument/2006/relationships/image" Target="../media/image7.jp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16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1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image" Target="../media/image17.jpe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18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3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7.jp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5.xml"/><Relationship Id="rId4" Type="http://schemas.openxmlformats.org/officeDocument/2006/relationships/image" Target="../media/image6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0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1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2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1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4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5.xml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6.xml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7.xml"/><Relationship Id="rId5" Type="http://schemas.openxmlformats.org/officeDocument/2006/relationships/image" Target="../media/image10.png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555704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ADC3E5-C1DE-4B56-AABB-41DD8B12AB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29" b="0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6" name="Picture Placeholder 1">
            <a:extLst>
              <a:ext uri="{FF2B5EF4-FFF2-40B4-BE49-F238E27FC236}">
                <a16:creationId xmlns:a16="http://schemas.microsoft.com/office/drawing/2014/main" id="{7ED8631D-1786-4364-87B2-A0C9A675B0C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62019" y="182428"/>
            <a:ext cx="8892989" cy="481992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485922E-E172-40DF-A19E-C3E9EE886437}"/>
              </a:ext>
            </a:extLst>
          </p:cNvPr>
          <p:cNvGrpSpPr/>
          <p:nvPr userDrawn="1"/>
        </p:nvGrpSpPr>
        <p:grpSpPr>
          <a:xfrm>
            <a:off x="342039" y="0"/>
            <a:ext cx="655848" cy="1143207"/>
            <a:chOff x="1551833" y="0"/>
            <a:chExt cx="867536" cy="151214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CE4BF45-21EC-40C3-9241-6684B1481B8C}"/>
                </a:ext>
              </a:extLst>
            </p:cNvPr>
            <p:cNvSpPr/>
            <p:nvPr/>
          </p:nvSpPr>
          <p:spPr>
            <a:xfrm>
              <a:off x="1551833" y="0"/>
              <a:ext cx="867536" cy="151214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61"/>
            </a:p>
          </p:txBody>
        </p:sp>
        <p:pic>
          <p:nvPicPr>
            <p:cNvPr id="23" name="Picture 105">
              <a:extLst>
                <a:ext uri="{FF2B5EF4-FFF2-40B4-BE49-F238E27FC236}">
                  <a16:creationId xmlns:a16="http://schemas.microsoft.com/office/drawing/2014/main" id="{A662EFD6-FD01-40E0-B3BE-29918D5F5A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2610"/>
            <a:stretch/>
          </p:blipFill>
          <p:spPr bwMode="auto">
            <a:xfrm>
              <a:off x="1719636" y="280455"/>
              <a:ext cx="531931" cy="637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105">
              <a:extLst>
                <a:ext uri="{FF2B5EF4-FFF2-40B4-BE49-F238E27FC236}">
                  <a16:creationId xmlns:a16="http://schemas.microsoft.com/office/drawing/2014/main" id="{97D77114-2D50-4FFF-98CF-02F19561058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694"/>
            <a:stretch/>
          </p:blipFill>
          <p:spPr bwMode="auto">
            <a:xfrm>
              <a:off x="1604799" y="872982"/>
              <a:ext cx="761604" cy="565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342039" y="2816452"/>
            <a:ext cx="4611199" cy="829815"/>
          </a:xfrm>
          <a:prstGeom prst="rect">
            <a:avLst/>
          </a:prstGeom>
          <a:solidFill>
            <a:srgbClr val="269B48">
              <a:alpha val="90000"/>
            </a:srgbClr>
          </a:solidFill>
        </p:spPr>
        <p:txBody>
          <a:bodyPr wrap="square" lIns="217440" tIns="153720" rIns="217440" bIns="153720" rtlCol="0" anchor="ctr">
            <a:spAutoFit/>
          </a:bodyPr>
          <a:lstStyle>
            <a:lvl1pPr algn="l">
              <a:lnSpc>
                <a:spcPct val="93000"/>
              </a:lnSpc>
              <a:defRPr lang="en-US" sz="3629" b="0" cap="none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in Title Cas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2039" y="4272220"/>
            <a:ext cx="4611199" cy="444116"/>
          </a:xfrm>
          <a:prstGeom prst="rect">
            <a:avLst/>
          </a:prstGeom>
          <a:solidFill>
            <a:srgbClr val="269B48">
              <a:alpha val="90000"/>
            </a:srgbClr>
          </a:solidFill>
        </p:spPr>
        <p:txBody>
          <a:bodyPr wrap="square" lIns="217440" tIns="153720" rIns="217440" bIns="153720" rtlCol="0" anchor="ctr">
            <a:noAutofit/>
          </a:bodyPr>
          <a:lstStyle>
            <a:lvl1pPr marL="0" indent="0" algn="l">
              <a:lnSpc>
                <a:spcPct val="110000"/>
              </a:lnSpc>
              <a:buNone/>
              <a:defRPr lang="en-US" sz="1361" dirty="0">
                <a:solidFill>
                  <a:srgbClr val="FFFFFF"/>
                </a:solidFill>
              </a:defRPr>
            </a:lvl1pPr>
            <a:lvl2pPr marL="345643" indent="0" algn="ctr">
              <a:buNone/>
              <a:defRPr sz="1512"/>
            </a:lvl2pPr>
            <a:lvl3pPr marL="691286" indent="0" algn="ctr">
              <a:buNone/>
              <a:defRPr sz="1361"/>
            </a:lvl3pPr>
            <a:lvl4pPr marL="1036930" indent="0" algn="ctr">
              <a:buNone/>
              <a:defRPr sz="1210"/>
            </a:lvl4pPr>
            <a:lvl5pPr marL="1382573" indent="0" algn="ctr">
              <a:buNone/>
              <a:defRPr sz="1210"/>
            </a:lvl5pPr>
            <a:lvl6pPr marL="1728216" indent="0" algn="ctr">
              <a:buNone/>
              <a:defRPr sz="1210"/>
            </a:lvl6pPr>
            <a:lvl7pPr marL="2073859" indent="0" algn="ctr">
              <a:buNone/>
              <a:defRPr sz="1210"/>
            </a:lvl7pPr>
            <a:lvl8pPr marL="2419502" indent="0" algn="ctr">
              <a:buNone/>
              <a:defRPr sz="1210"/>
            </a:lvl8pPr>
            <a:lvl9pPr marL="2765146" indent="0" algn="ctr">
              <a:buNone/>
              <a:defRPr sz="1210"/>
            </a:lvl9pPr>
          </a:lstStyle>
          <a:p>
            <a:pPr lvl="0"/>
            <a:r>
              <a:rPr lang="en-US"/>
              <a:t>Subtitle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02312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C3A3AB-B22A-4E78-AAF2-B7D6818619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115347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C3A3AB-B22A-4E78-AAF2-B7D6818619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912C19-5C10-44DF-87AB-756D1F0623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301265" y="0"/>
            <a:ext cx="315211" cy="51847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608512" y="0"/>
            <a:ext cx="4608513" cy="5184775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605505" y="0"/>
            <a:ext cx="4611519" cy="5184775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61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6273" y="1349947"/>
            <a:ext cx="3317585" cy="2484882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2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644BA7-7C7F-4624-A75A-78EEF8AA19AB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7256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58B098-6278-4BFE-8968-E5D32BD2CF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975249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58B098-6278-4BFE-8968-E5D32BD2CF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EA148F-F457-4E6C-82B4-9AC93A391D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 hidden="1"/>
          <p:cNvSpPr txBox="1"/>
          <p:nvPr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2892778"/>
            <a:ext cx="8265385" cy="1214582"/>
          </a:xfrm>
        </p:spPr>
        <p:txBody>
          <a:bodyPr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AA09F6-94A2-4517-9E2C-9E20194F2F47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1223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599FAF-9DCA-489E-A763-0BFAEEE51C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52259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599FAF-9DCA-489E-A763-0BFAEEE51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6AF7F3-6AC4-44FF-80D6-D692F7302A4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6274" y="472871"/>
            <a:ext cx="705102" cy="70512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2892778"/>
            <a:ext cx="8265385" cy="121458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188069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187170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138799" y="76838"/>
            <a:ext cx="581573" cy="757488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9217025" cy="4435814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9128" tIns="34564" rIns="69128" bIns="34564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61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2A4D04-26F6-4956-B437-28E2C3B96EDB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78370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ABFB1DD-CE29-45EF-AE06-CA88630D8D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561750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ABFB1DD-CE29-45EF-AE06-CA88630D8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298FF70-C3F4-484B-8F54-6600FD24EA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6274" y="470848"/>
            <a:ext cx="8265385" cy="356008"/>
          </a:xfrm>
        </p:spPr>
        <p:txBody>
          <a:bodyPr/>
          <a:lstStyle>
            <a:lvl1pPr>
              <a:defRPr sz="257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196A989-A599-49E8-AF61-AA5C244BC59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14879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AD159A-9AA8-4170-80C6-4BC81B0D51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607583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AD159A-9AA8-4170-80C6-4BC81B0D51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9810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960183-1C93-430B-AD2E-E959FA4A5E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33209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960183-1C93-430B-AD2E-E959FA4A5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8C26A1-8561-4C93-A7BA-944D074B5580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9142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1481B1-0F69-46D4-8CD6-26EAD8059D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11962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1481B1-0F69-46D4-8CD6-26EAD8059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06009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3444735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78A614D2-67CD-43BD-94BD-46E15BE70201}"/>
              </a:ext>
            </a:extLst>
          </p:cNvPr>
          <p:cNvSpPr txBox="1">
            <a:spLocks/>
          </p:cNvSpPr>
          <p:nvPr userDrawn="1"/>
        </p:nvSpPr>
        <p:spPr>
          <a:xfrm>
            <a:off x="0" y="1993555"/>
            <a:ext cx="9217025" cy="979908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024"/>
              <a:t>THANK YOU</a:t>
            </a:r>
            <a:endParaRPr lang="en-SG" sz="3024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25A700D-5D0F-4D42-AAAC-39CC04DD0080}"/>
              </a:ext>
            </a:extLst>
          </p:cNvPr>
          <p:cNvGrpSpPr/>
          <p:nvPr userDrawn="1"/>
        </p:nvGrpSpPr>
        <p:grpSpPr>
          <a:xfrm>
            <a:off x="0" y="2085432"/>
            <a:ext cx="9217025" cy="3099343"/>
            <a:chOff x="0" y="2758440"/>
            <a:chExt cx="12192000" cy="409956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A332B39-159A-4F4D-B903-292E5A40B5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0" y="2758440"/>
              <a:ext cx="12192000" cy="409956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32C7C4F-8984-40EF-A38A-F9C0A3166FA6}"/>
                </a:ext>
              </a:extLst>
            </p:cNvPr>
            <p:cNvSpPr/>
            <p:nvPr/>
          </p:nvSpPr>
          <p:spPr>
            <a:xfrm>
              <a:off x="172720" y="5394960"/>
              <a:ext cx="3688080" cy="129032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7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9945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F6E062-4EAA-4279-90F5-9651781D1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84240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F6E062-4EAA-4279-90F5-9651781D1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EDC90085-BE9D-4B57-AF55-486CFB2FE41D}"/>
              </a:ext>
            </a:extLst>
          </p:cNvPr>
          <p:cNvGrpSpPr/>
          <p:nvPr userDrawn="1"/>
        </p:nvGrpSpPr>
        <p:grpSpPr>
          <a:xfrm>
            <a:off x="-454" y="-1"/>
            <a:ext cx="9218386" cy="5184776"/>
            <a:chOff x="-600" y="-1"/>
            <a:chExt cx="12193800" cy="685800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C617232-9F05-4EB3-8D1F-C4D80DD22BE8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F3505CD-42D1-4A8C-ACD1-E74489AC6449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2A6F0F7-2EF3-48C4-8EE0-BC1883413E0C}"/>
                </a:ext>
              </a:extLst>
            </p:cNvPr>
            <p:cNvGrpSpPr/>
            <p:nvPr userDrawn="1"/>
          </p:nvGrpSpPr>
          <p:grpSpPr>
            <a:xfrm>
              <a:off x="-600" y="-1"/>
              <a:ext cx="12193800" cy="6858001"/>
              <a:chOff x="-600" y="-1"/>
              <a:chExt cx="12193800" cy="6858001"/>
            </a:xfrm>
          </p:grpSpPr>
          <p:sp>
            <p:nvSpPr>
              <p:cNvPr id="50" name="No fly zone"/>
              <p:cNvSpPr/>
              <p:nvPr/>
            </p:nvSpPr>
            <p:spPr>
              <a:xfrm>
                <a:off x="0" y="-1"/>
                <a:ext cx="12193200" cy="6858000"/>
              </a:xfrm>
              <a:custGeom>
                <a:avLst/>
                <a:gdLst>
                  <a:gd name="connsiteX0" fmla="*/ 630001 w 12193200"/>
                  <a:gd name="connsiteY0" fmla="*/ 62280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0 w 12193200"/>
                  <a:gd name="connsiteY4" fmla="*/ 0 h 6858000"/>
                  <a:gd name="connsiteX5" fmla="*/ 12193200 w 12193200"/>
                  <a:gd name="connsiteY5" fmla="*/ 0 h 6858000"/>
                  <a:gd name="connsiteX6" fmla="*/ 12193200 w 12193200"/>
                  <a:gd name="connsiteY6" fmla="*/ 622800 h 6858000"/>
                  <a:gd name="connsiteX7" fmla="*/ 12192000 w 12193200"/>
                  <a:gd name="connsiteY7" fmla="*/ 622800 h 6858000"/>
                  <a:gd name="connsiteX8" fmla="*/ 12192000 w 12193200"/>
                  <a:gd name="connsiteY8" fmla="*/ 6160597 h 6858000"/>
                  <a:gd name="connsiteX9" fmla="*/ 12193200 w 12193200"/>
                  <a:gd name="connsiteY9" fmla="*/ 6160597 h 6858000"/>
                  <a:gd name="connsiteX10" fmla="*/ 12193200 w 12193200"/>
                  <a:gd name="connsiteY10" fmla="*/ 6858000 h 6858000"/>
                  <a:gd name="connsiteX11" fmla="*/ 12192000 w 12193200"/>
                  <a:gd name="connsiteY11" fmla="*/ 6858000 h 6858000"/>
                  <a:gd name="connsiteX12" fmla="*/ 11562000 w 12193200"/>
                  <a:gd name="connsiteY12" fmla="*/ 6858000 h 6858000"/>
                  <a:gd name="connsiteX13" fmla="*/ 630001 w 12193200"/>
                  <a:gd name="connsiteY13" fmla="*/ 6858000 h 6858000"/>
                  <a:gd name="connsiteX14" fmla="*/ 1 w 12193200"/>
                  <a:gd name="connsiteY14" fmla="*/ 6858000 h 6858000"/>
                  <a:gd name="connsiteX15" fmla="*/ 1 w 12193200"/>
                  <a:gd name="connsiteY15" fmla="*/ 6160597 h 6858000"/>
                  <a:gd name="connsiteX16" fmla="*/ 1 w 12193200"/>
                  <a:gd name="connsiteY16" fmla="*/ 622800 h 6858000"/>
                  <a:gd name="connsiteX17" fmla="*/ 0 w 12193200"/>
                  <a:gd name="connsiteY17" fmla="*/ 622800 h 6858000"/>
                  <a:gd name="connsiteX0" fmla="*/ 306151 w 12193200"/>
                  <a:gd name="connsiteY0" fmla="*/ 6037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306151 w 12193200"/>
                  <a:gd name="connsiteY4" fmla="*/ 6037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306151 w 12193200"/>
                  <a:gd name="connsiteY0" fmla="*/ 6037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306151 w 12193200"/>
                  <a:gd name="connsiteY4" fmla="*/ 6037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42651 w 12193200"/>
                  <a:gd name="connsiteY0" fmla="*/ 61010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42651 w 12193200"/>
                  <a:gd name="connsiteY4" fmla="*/ 61010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29951 w 12193200"/>
                  <a:gd name="connsiteY1" fmla="*/ 616694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959933 w 12193200"/>
                  <a:gd name="connsiteY2" fmla="*/ 6169064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959933 w 12193200"/>
                  <a:gd name="connsiteY2" fmla="*/ 6169064 h 6858000"/>
                  <a:gd name="connsiteX3" fmla="*/ 11955700 w 12193200"/>
                  <a:gd name="connsiteY3" fmla="*/ 631267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193200" h="6858000">
                    <a:moveTo>
                      <a:pt x="236301" y="616450"/>
                    </a:moveTo>
                    <a:cubicBezTo>
                      <a:pt x="234184" y="2466616"/>
                      <a:pt x="244768" y="4310431"/>
                      <a:pt x="242651" y="6160597"/>
                    </a:cubicBezTo>
                    <a:lnTo>
                      <a:pt x="11959933" y="6169064"/>
                    </a:lnTo>
                    <a:lnTo>
                      <a:pt x="11955700" y="631267"/>
                    </a:lnTo>
                    <a:lnTo>
                      <a:pt x="236301" y="616450"/>
                    </a:lnTo>
                    <a:close/>
                    <a:moveTo>
                      <a:pt x="0" y="0"/>
                    </a:moveTo>
                    <a:lnTo>
                      <a:pt x="12193200" y="0"/>
                    </a:lnTo>
                    <a:lnTo>
                      <a:pt x="12193200" y="622800"/>
                    </a:lnTo>
                    <a:lnTo>
                      <a:pt x="12192000" y="622800"/>
                    </a:lnTo>
                    <a:lnTo>
                      <a:pt x="12192000" y="6160597"/>
                    </a:lnTo>
                    <a:lnTo>
                      <a:pt x="12193200" y="6160597"/>
                    </a:lnTo>
                    <a:lnTo>
                      <a:pt x="12193200" y="6858000"/>
                    </a:lnTo>
                    <a:lnTo>
                      <a:pt x="12192000" y="6858000"/>
                    </a:lnTo>
                    <a:lnTo>
                      <a:pt x="11562000" y="6858000"/>
                    </a:lnTo>
                    <a:lnTo>
                      <a:pt x="630001" y="6858000"/>
                    </a:lnTo>
                    <a:lnTo>
                      <a:pt x="1" y="6858000"/>
                    </a:lnTo>
                    <a:lnTo>
                      <a:pt x="1" y="6160597"/>
                    </a:lnTo>
                    <a:lnTo>
                      <a:pt x="1" y="622800"/>
                    </a:lnTo>
                    <a:lnTo>
                      <a:pt x="0" y="6228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FEF">
                  <a:alpha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87DB36DF-7F92-4D41-9295-EA780EA6EF46}"/>
                  </a:ext>
                </a:extLst>
              </p:cNvPr>
              <p:cNvGrpSpPr/>
              <p:nvPr userDrawn="1"/>
            </p:nvGrpSpPr>
            <p:grpSpPr>
              <a:xfrm>
                <a:off x="887176" y="623550"/>
                <a:ext cx="10417647" cy="5537047"/>
                <a:chOff x="887176" y="623550"/>
                <a:chExt cx="10417647" cy="5537047"/>
              </a:xfrm>
            </p:grpSpPr>
            <p:sp>
              <p:nvSpPr>
                <p:cNvPr id="66" name="Rectangle 34"/>
                <p:cNvSpPr>
                  <a:spLocks noChangeArrowheads="1"/>
                </p:cNvSpPr>
                <p:nvPr/>
              </p:nvSpPr>
              <p:spPr bwMode="auto">
                <a:xfrm>
                  <a:off x="696496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7" name="Rectangle 35"/>
                <p:cNvSpPr>
                  <a:spLocks noChangeArrowheads="1"/>
                </p:cNvSpPr>
                <p:nvPr/>
              </p:nvSpPr>
              <p:spPr bwMode="auto">
                <a:xfrm>
                  <a:off x="899089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8" name="Rectangle 36"/>
                <p:cNvSpPr>
                  <a:spLocks noChangeArrowheads="1"/>
                </p:cNvSpPr>
                <p:nvPr/>
              </p:nvSpPr>
              <p:spPr bwMode="auto">
                <a:xfrm>
                  <a:off x="797793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9" name="Rectangle 37"/>
                <p:cNvSpPr>
                  <a:spLocks noChangeArrowheads="1"/>
                </p:cNvSpPr>
                <p:nvPr/>
              </p:nvSpPr>
              <p:spPr bwMode="auto">
                <a:xfrm>
                  <a:off x="1000386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0" name="Rectangle 38"/>
                <p:cNvSpPr>
                  <a:spLocks noChangeArrowheads="1"/>
                </p:cNvSpPr>
                <p:nvPr/>
              </p:nvSpPr>
              <p:spPr bwMode="auto">
                <a:xfrm>
                  <a:off x="11016823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1" name="Rectangle 39"/>
                <p:cNvSpPr>
                  <a:spLocks noChangeArrowheads="1"/>
                </p:cNvSpPr>
                <p:nvPr/>
              </p:nvSpPr>
              <p:spPr bwMode="auto">
                <a:xfrm>
                  <a:off x="595200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2" name="Rectangle 40"/>
                <p:cNvSpPr>
                  <a:spLocks noChangeArrowheads="1"/>
                </p:cNvSpPr>
                <p:nvPr/>
              </p:nvSpPr>
              <p:spPr bwMode="auto">
                <a:xfrm>
                  <a:off x="88717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3" name="Rectangle 41"/>
                <p:cNvSpPr>
                  <a:spLocks noChangeArrowheads="1"/>
                </p:cNvSpPr>
                <p:nvPr/>
              </p:nvSpPr>
              <p:spPr bwMode="auto">
                <a:xfrm>
                  <a:off x="190014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4" name="Rectangle 42"/>
                <p:cNvSpPr>
                  <a:spLocks noChangeArrowheads="1"/>
                </p:cNvSpPr>
                <p:nvPr/>
              </p:nvSpPr>
              <p:spPr bwMode="auto">
                <a:xfrm>
                  <a:off x="291310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5" name="Rectangle 43"/>
                <p:cNvSpPr>
                  <a:spLocks noChangeArrowheads="1"/>
                </p:cNvSpPr>
                <p:nvPr/>
              </p:nvSpPr>
              <p:spPr bwMode="auto">
                <a:xfrm>
                  <a:off x="392607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6" name="Rectangle 44"/>
                <p:cNvSpPr>
                  <a:spLocks noChangeArrowheads="1"/>
                </p:cNvSpPr>
                <p:nvPr/>
              </p:nvSpPr>
              <p:spPr bwMode="auto">
                <a:xfrm>
                  <a:off x="493903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</p:grpSp>
          <p:sp>
            <p:nvSpPr>
              <p:cNvPr id="53" name="Slide edges"/>
              <p:cNvSpPr>
                <a:spLocks/>
              </p:cNvSpPr>
              <p:nvPr userDrawn="1"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91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61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 userDrawn="1"/>
            </p:nvSpPr>
            <p:spPr bwMode="auto">
              <a:xfrm>
                <a:off x="232778" y="6159600"/>
                <a:ext cx="11726443" cy="378584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7" name="Whitespace measure"/>
              <p:cNvSpPr>
                <a:spLocks noChangeArrowheads="1"/>
              </p:cNvSpPr>
              <p:nvPr userDrawn="1"/>
            </p:nvSpPr>
            <p:spPr bwMode="auto">
              <a:xfrm>
                <a:off x="232778" y="1497600"/>
                <a:ext cx="11726443" cy="58320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9" name="Live area"/>
              <p:cNvSpPr/>
              <p:nvPr userDrawn="1"/>
            </p:nvSpPr>
            <p:spPr>
              <a:xfrm>
                <a:off x="232778" y="2080801"/>
                <a:ext cx="11726443" cy="4078800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71C57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756"/>
                  </a:spcAft>
                </a:pPr>
                <a:endParaRPr lang="en-US" sz="907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0" name="Footnote example"/>
              <p:cNvSpPr txBox="1"/>
              <p:nvPr userDrawn="1"/>
            </p:nvSpPr>
            <p:spPr>
              <a:xfrm>
                <a:off x="232778" y="6144441"/>
                <a:ext cx="9030914" cy="415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1. xxxx  2. xxxx  3. List footnotes in numerical order. Footnote numbers are not bracketed. Use 10pt font</a:t>
                </a:r>
              </a:p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Note: Do not put a period at the end of the note or the source</a:t>
                </a:r>
              </a:p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Source: Include a source for every chart that you use. Separate sources with a semicolon; BCG-related sources go at the end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535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048375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38FAA8-D28A-4D9B-A153-1CB1B70827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29" b="0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7" name="Picture Placeholder 1">
            <a:extLst>
              <a:ext uri="{FF2B5EF4-FFF2-40B4-BE49-F238E27FC236}">
                <a16:creationId xmlns:a16="http://schemas.microsoft.com/office/drawing/2014/main" id="{CF8F4D1F-FA98-438E-852D-8C37076AE1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62019" y="182428"/>
            <a:ext cx="8892989" cy="481992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4CFF19D0-935E-4069-B6E6-800E642867C8}"/>
              </a:ext>
            </a:extLst>
          </p:cNvPr>
          <p:cNvGrpSpPr/>
          <p:nvPr userDrawn="1"/>
        </p:nvGrpSpPr>
        <p:grpSpPr>
          <a:xfrm>
            <a:off x="342039" y="0"/>
            <a:ext cx="655848" cy="1143207"/>
            <a:chOff x="1551833" y="0"/>
            <a:chExt cx="867536" cy="151214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EF1493A-B8D0-48C1-896F-B5F656205C31}"/>
                </a:ext>
              </a:extLst>
            </p:cNvPr>
            <p:cNvSpPr/>
            <p:nvPr/>
          </p:nvSpPr>
          <p:spPr>
            <a:xfrm>
              <a:off x="1551833" y="0"/>
              <a:ext cx="867536" cy="151214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61"/>
            </a:p>
          </p:txBody>
        </p:sp>
        <p:pic>
          <p:nvPicPr>
            <p:cNvPr id="10" name="Picture 105">
              <a:extLst>
                <a:ext uri="{FF2B5EF4-FFF2-40B4-BE49-F238E27FC236}">
                  <a16:creationId xmlns:a16="http://schemas.microsoft.com/office/drawing/2014/main" id="{3D328AC3-8839-47C9-92B4-79578537729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2610"/>
            <a:stretch/>
          </p:blipFill>
          <p:spPr bwMode="auto">
            <a:xfrm>
              <a:off x="1719636" y="280455"/>
              <a:ext cx="531931" cy="637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5">
              <a:extLst>
                <a:ext uri="{FF2B5EF4-FFF2-40B4-BE49-F238E27FC236}">
                  <a16:creationId xmlns:a16="http://schemas.microsoft.com/office/drawing/2014/main" id="{F691058F-7698-447A-A67A-C1024460267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694"/>
            <a:stretch/>
          </p:blipFill>
          <p:spPr bwMode="auto">
            <a:xfrm>
              <a:off x="1604799" y="872982"/>
              <a:ext cx="761604" cy="565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52999FD9-A847-4517-B1C1-BA03CD16B59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342039" y="2816452"/>
            <a:ext cx="4611199" cy="829815"/>
          </a:xfrm>
          <a:prstGeom prst="rect">
            <a:avLst/>
          </a:prstGeom>
          <a:solidFill>
            <a:srgbClr val="269B48">
              <a:alpha val="90000"/>
            </a:srgbClr>
          </a:solidFill>
        </p:spPr>
        <p:txBody>
          <a:bodyPr wrap="square" lIns="217440" tIns="153720" rIns="217440" bIns="153720" rtlCol="0" anchor="ctr">
            <a:spAutoFit/>
          </a:bodyPr>
          <a:lstStyle>
            <a:lvl1pPr algn="l">
              <a:lnSpc>
                <a:spcPct val="93000"/>
              </a:lnSpc>
              <a:defRPr lang="en-US" sz="3629" b="0" cap="none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in Title Cas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582E4A0B-8B9F-424D-A8AA-D7E423DB40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2039" y="4272220"/>
            <a:ext cx="4611199" cy="444116"/>
          </a:xfrm>
          <a:prstGeom prst="rect">
            <a:avLst/>
          </a:prstGeom>
          <a:solidFill>
            <a:srgbClr val="269B48">
              <a:alpha val="90000"/>
            </a:srgbClr>
          </a:solidFill>
        </p:spPr>
        <p:txBody>
          <a:bodyPr wrap="square" lIns="217440" tIns="153720" rIns="217440" bIns="153720" rtlCol="0" anchor="ctr">
            <a:noAutofit/>
          </a:bodyPr>
          <a:lstStyle>
            <a:lvl1pPr marL="0" indent="0" algn="l">
              <a:lnSpc>
                <a:spcPct val="110000"/>
              </a:lnSpc>
              <a:buNone/>
              <a:defRPr lang="en-US" sz="1361" dirty="0">
                <a:solidFill>
                  <a:srgbClr val="FFFFFF"/>
                </a:solidFill>
              </a:defRPr>
            </a:lvl1pPr>
            <a:lvl2pPr marL="345643" indent="0" algn="ctr">
              <a:buNone/>
              <a:defRPr sz="1512"/>
            </a:lvl2pPr>
            <a:lvl3pPr marL="691286" indent="0" algn="ctr">
              <a:buNone/>
              <a:defRPr sz="1361"/>
            </a:lvl3pPr>
            <a:lvl4pPr marL="1036930" indent="0" algn="ctr">
              <a:buNone/>
              <a:defRPr sz="1210"/>
            </a:lvl4pPr>
            <a:lvl5pPr marL="1382573" indent="0" algn="ctr">
              <a:buNone/>
              <a:defRPr sz="1210"/>
            </a:lvl5pPr>
            <a:lvl6pPr marL="1728216" indent="0" algn="ctr">
              <a:buNone/>
              <a:defRPr sz="1210"/>
            </a:lvl6pPr>
            <a:lvl7pPr marL="2073859" indent="0" algn="ctr">
              <a:buNone/>
              <a:defRPr sz="1210"/>
            </a:lvl7pPr>
            <a:lvl8pPr marL="2419502" indent="0" algn="ctr">
              <a:buNone/>
              <a:defRPr sz="1210"/>
            </a:lvl8pPr>
            <a:lvl9pPr marL="2765146" indent="0" algn="ctr">
              <a:buNone/>
              <a:defRPr sz="1210"/>
            </a:lvl9pPr>
          </a:lstStyle>
          <a:p>
            <a:pPr lvl="0"/>
            <a:r>
              <a:rPr lang="en-US"/>
              <a:t>Subtitle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33243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9E504A-89E4-47DE-89D4-0157CAF96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79283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9E504A-89E4-47DE-89D4-0157CAF961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2DF5B05-156E-44CF-93DA-B264334A81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01769" y="0"/>
            <a:ext cx="315211" cy="51847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911493" y="0"/>
            <a:ext cx="3305532" cy="5184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911858" y="0"/>
            <a:ext cx="3305168" cy="5184775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1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6274" y="1364349"/>
            <a:ext cx="4723084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2B35CF-7EF2-4F9C-9709-A55C67A897C3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7465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802C37-F4E1-4E2F-BE78-27024D53A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845613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802C37-F4E1-4E2F-BE78-27024D53A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E701B6-155C-447A-8BB3-D92030917D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124AD70-E558-4B24-B872-E88B283623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2513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B4F35-6FFE-47FF-9376-11F21018FC3E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247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802C37-F4E1-4E2F-BE78-27024D53A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3698638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802C37-F4E1-4E2F-BE78-27024D53A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E701B6-155C-447A-8BB3-D92030917D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58AB5F-B36F-4977-9F5F-4983763213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88A46CD-A84C-488A-BF98-457AF80B516D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75981" y="170426"/>
            <a:ext cx="8260451" cy="571285"/>
          </a:xfrm>
        </p:spPr>
        <p:txBody>
          <a:bodyPr lIns="91440" tIns="45720" rIns="91440" bIns="45720" anchor="ctr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1062E2-C490-40DB-972F-4D0130C877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6131" y="931695"/>
            <a:ext cx="8864914" cy="326468"/>
          </a:xfrm>
        </p:spPr>
        <p:txBody>
          <a:bodyPr lIns="91440" tIns="45720" rIns="91440" bIns="45720" anchor="ctr" anchorCtr="0"/>
          <a:lstStyle>
            <a:lvl1pPr>
              <a:defRPr b="1"/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48663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29D43AA-A04F-41D9-AA68-5C5DA52EB7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326409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29D43AA-A04F-41D9-AA68-5C5DA52EB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C468AF6-DDB8-4C89-A949-9AC32E2AD8E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D255918-D50D-4B9A-88D8-1F1F73C469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A8DE5AD-DDC4-4EA8-ADA0-F927DA835B7C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251300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5978" y="1576774"/>
            <a:ext cx="8865067" cy="307924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8516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A7A0A80-04CD-4A2B-83B0-BE94A3186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197688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A7A0A80-04CD-4A2B-83B0-BE94A3186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989"/>
            <a:ext cx="3548918" cy="518576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128" tIns="34564" rIns="69128" bIns="345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6273" y="1632235"/>
            <a:ext cx="2830425" cy="409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1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5643" indent="0" algn="ctr">
              <a:buNone/>
              <a:defRPr sz="1512"/>
            </a:lvl2pPr>
            <a:lvl3pPr marL="691286" indent="0" algn="ctr">
              <a:buNone/>
              <a:defRPr sz="1361"/>
            </a:lvl3pPr>
            <a:lvl4pPr marL="1036930" indent="0" algn="ctr">
              <a:buNone/>
              <a:defRPr sz="1210"/>
            </a:lvl4pPr>
            <a:lvl5pPr marL="1382573" indent="0" algn="ctr">
              <a:buNone/>
              <a:defRPr sz="1210"/>
            </a:lvl5pPr>
            <a:lvl6pPr marL="1728216" indent="0" algn="ctr">
              <a:buNone/>
              <a:defRPr sz="1210"/>
            </a:lvl6pPr>
            <a:lvl7pPr marL="2073859" indent="0" algn="ctr">
              <a:buNone/>
              <a:defRPr sz="1210"/>
            </a:lvl7pPr>
            <a:lvl8pPr marL="2419502" indent="0" algn="ctr">
              <a:buNone/>
              <a:defRPr sz="1210"/>
            </a:lvl8pPr>
            <a:lvl9pPr marL="2765146" indent="0" algn="ctr">
              <a:buNone/>
              <a:defRPr sz="121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6273" y="927671"/>
            <a:ext cx="2830425" cy="502599"/>
          </a:xfrm>
        </p:spPr>
        <p:txBody>
          <a:bodyPr anchor="t">
            <a:noAutofit/>
          </a:bodyPr>
          <a:lstStyle>
            <a:lvl1pPr>
              <a:defRPr sz="1814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3906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F9AA1B-9848-4A8D-B327-612570EA3F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87991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F9AA1B-9848-4A8D-B327-612570EA3F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3196D4-52F1-4757-BE59-CC7959CEFF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71252" y="2017088"/>
            <a:ext cx="7272991" cy="2420035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8191" y="1076632"/>
            <a:ext cx="719491" cy="719519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723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CE535C-696E-45DD-B40A-F6C1206E1E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055449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CE535C-696E-45DD-B40A-F6C1206E1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A1FEA6-016F-4E2C-8363-12895B607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6273" y="2893132"/>
            <a:ext cx="8268107" cy="1543185"/>
          </a:xfrm>
        </p:spPr>
        <p:txBody>
          <a:bodyPr anchor="t">
            <a:noAutofit/>
          </a:bodyPr>
          <a:lstStyle>
            <a:lvl1pPr>
              <a:defRPr sz="4082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6274" y="2782160"/>
            <a:ext cx="8738171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977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5E4F32-9755-45C2-8BE1-647ED800B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739206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5E4F32-9755-45C2-8BE1-647ED800B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73093" y="0"/>
            <a:ext cx="315211" cy="5184775"/>
          </a:xfrm>
          <a:prstGeom prst="rect">
            <a:avLst/>
          </a:prstGeom>
        </p:spPr>
      </p:pic>
      <p:sp>
        <p:nvSpPr>
          <p:cNvPr id="20" name="TextBox 19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84066" cy="51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6274" y="2026964"/>
            <a:ext cx="2364645" cy="11308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14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E39161-158A-461E-B2DB-22462B7E9D7C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5278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EEC767-AD81-4D6C-82A1-EE9BA46294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661400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EEC767-AD81-4D6C-82A1-EE9BA46294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8BB338-5DF7-4D9F-999A-71BA4D82E2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417124" y="0"/>
            <a:ext cx="315211" cy="518477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421924" cy="51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470849"/>
            <a:ext cx="4744991" cy="25130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A29B80D-3A67-4215-8A68-A7DD09E583E8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623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5250B59-C656-419B-A33F-7DAECFEE1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947648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5250B59-C656-419B-A33F-7DAECFEE1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132D08A-7B7E-42E6-99A8-4DC2469AC2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826016" y="0"/>
            <a:ext cx="315211" cy="51847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829816" cy="51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6124713" cy="25130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C89C2E-87CD-4D33-8407-FAB6105C8C81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1850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D1AA52-F86C-41F5-8118-DD93020232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817750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D1AA52-F86C-41F5-8118-DD93020232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C982CB6-302B-44FB-9340-3BE71C5906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75289" y="0"/>
            <a:ext cx="315211" cy="5184775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6274" y="2026964"/>
            <a:ext cx="2364645" cy="11308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14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85015" y="-989"/>
            <a:ext cx="6132011" cy="5185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852376-ED48-4084-9E64-D2A28E6179D2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1517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B75645-0D7F-42A5-88A8-35BC969252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406794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B75645-0D7F-42A5-88A8-35BC969252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48A481D-67F9-4EFD-90EC-B84F2EB2AF4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19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152" y="99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BD0F91-B326-47BE-A875-91966F1E33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273" y="2089789"/>
            <a:ext cx="1873825" cy="993643"/>
          </a:xfrm>
        </p:spPr>
        <p:txBody>
          <a:bodyPr anchor="ctr"/>
          <a:lstStyle>
            <a:lvl1pPr>
              <a:defRPr sz="2419" b="1" cap="all" baseline="0"/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093" y="2714408"/>
            <a:ext cx="1032115" cy="255758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86B84F9-45A6-420D-B328-0DCEAB1D7237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5562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8A6FA88-5760-413D-ABE7-6E0F3BF02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35524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8A6FA88-5760-413D-ABE7-6E0F3BF02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A130605-E664-41FA-8560-FDA194F411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301265" y="0"/>
            <a:ext cx="315211" cy="518477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608512" y="0"/>
            <a:ext cx="4608513" cy="518477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605505" y="0"/>
            <a:ext cx="4611519" cy="5184775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61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6273" y="1349947"/>
            <a:ext cx="3317585" cy="2484882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2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D21E222-D8B3-40C5-A653-76B331D136C5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3554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EFD65C3-C078-4F67-A39C-F3F1BEBA4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2175612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EFD65C3-C078-4F67-A39C-F3F1BEBA4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E4A94F-F2CD-431C-A463-043C263BEB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01769" y="0"/>
            <a:ext cx="315211" cy="518477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911493" y="0"/>
            <a:ext cx="3305532" cy="51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911858" y="0"/>
            <a:ext cx="3305168" cy="5184775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1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6981" y="1349947"/>
            <a:ext cx="4723084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651D44-4D02-459E-9185-83434C14BA97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4312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3973105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09352A5-0226-422B-9A89-A16435449E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52" y="99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3B8AD2-B1D3-4650-B491-6DF468F79C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273" y="2089789"/>
            <a:ext cx="1873825" cy="993643"/>
          </a:xfrm>
        </p:spPr>
        <p:txBody>
          <a:bodyPr anchor="ctr"/>
          <a:lstStyle>
            <a:lvl1pPr>
              <a:defRPr sz="1814" b="1" cap="all" baseline="0">
                <a:latin typeface="+mn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093" y="2714408"/>
            <a:ext cx="1032115" cy="255758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81CBDF-9077-4B79-9F57-F56D5D710F4C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73896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DE5143-18FD-47E6-A609-4B0ADA11EB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798359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DE5143-18FD-47E6-A609-4B0ADA11EB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3F6B90-44A4-4AA7-BFB3-C8508CA2A7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52" y="99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6273" y="2089789"/>
            <a:ext cx="1873825" cy="99364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44007" y="2572602"/>
            <a:ext cx="2037139" cy="2617143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57F6E73-6366-4B19-8F05-C38127F9CA61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7468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A02DC9-4605-4F96-A9A5-BD727214E8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928833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A02DC9-4605-4F96-A9A5-BD727214E8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A26DDE6-634F-4007-ADC7-99589985AD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102695" cy="5184775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1349947"/>
            <a:ext cx="3071007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586" y="2566223"/>
            <a:ext cx="981709" cy="2700404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C70F2FE-5764-44EF-A38B-3D530FCADABC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9653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0D57F8-9753-4A68-86B0-1DBFBC0154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869147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0D57F8-9753-4A68-86B0-1DBFBC0154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4102695" cy="5184775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1349947"/>
            <a:ext cx="3071007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704976" y="2582786"/>
            <a:ext cx="2037139" cy="2601989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29A02D3-470F-4229-A886-D2BCC7BD5FAE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1003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639AED-75A7-4EE7-B8BA-6FE4D57E8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37227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639AED-75A7-4EE7-B8BA-6FE4D57E8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88D273-8CC2-4A97-9F50-38CA340DCF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4810774" cy="5184775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3589304" cy="25130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0685" y="2713809"/>
            <a:ext cx="1032115" cy="255758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5D955B0-D91C-43CC-BF40-C90E247E1015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83102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9CA1A7-BC84-4DD8-83CB-4C13B320F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449589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9CA1A7-BC84-4DD8-83CB-4C13B320F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365D6C-B0BB-49AD-9FE8-A053333B033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4810774" cy="5184775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3589304" cy="2513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71844" y="2576362"/>
            <a:ext cx="2037139" cy="2613217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D7CD688-272E-46C1-9986-0D27AC9FE3B0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4940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5C8E13-95B1-46A7-9145-C226B759CB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010148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5C8E13-95B1-46A7-9145-C226B759CB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11A508-F6E4-43FC-A50D-C5B1C579CD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85269" cy="51847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4728334" cy="25130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618" y="2713809"/>
            <a:ext cx="1032115" cy="255758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67BB895-CFAE-4536-8442-27674E9A696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14157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6BAF38-18DE-44F2-9F9F-FAF08F9FC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342191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6BAF38-18DE-44F2-9F9F-FAF08F9FC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C63F800-AF78-4470-90EE-D6261D6A21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85269" cy="51847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4728334" cy="2513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Box 1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65059" y="2576362"/>
            <a:ext cx="2037139" cy="2613217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73F9953-1267-409B-AA7D-52C03FA65542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979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6C7BDA-2459-4A47-BBED-1A6064FC55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199442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6C7BDA-2459-4A47-BBED-1A6064FC55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8A606A-23AB-435F-9FF9-9E3122B829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19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2089789"/>
            <a:ext cx="1873825" cy="993643"/>
          </a:xfrm>
        </p:spPr>
        <p:txBody>
          <a:bodyPr anchor="ctr" anchorCtr="0">
            <a:noAutofit/>
          </a:bodyPr>
          <a:lstStyle>
            <a:lvl1pPr>
              <a:defRPr sz="2419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44007" y="2572602"/>
            <a:ext cx="2037139" cy="2617143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C7145E8-58AB-4E4F-9673-012D0BAFBAAF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8293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E7B021-D7CF-4FD4-9D63-C70B8DF48E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003714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E7B021-D7CF-4FD4-9D63-C70B8DF48E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2C7EC4-563F-4664-818A-4762C2487A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Box 9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2892778"/>
            <a:ext cx="8265385" cy="1214582"/>
          </a:xfrm>
        </p:spPr>
        <p:txBody>
          <a:bodyPr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CAFEA6-21E3-4681-9CF8-46AD278FFDED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72673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968E95-7236-4890-8F1E-AB34F890C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1474698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968E95-7236-4890-8F1E-AB34F890C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A2CBA2-D875-4F59-A8E5-5FE314A47E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6274" y="472871"/>
            <a:ext cx="705102" cy="70512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2892778"/>
            <a:ext cx="8265385" cy="121458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8734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8740497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138799" y="76838"/>
            <a:ext cx="581573" cy="757488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9217025" cy="4435814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9128" tIns="34564" rIns="69128" bIns="34564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61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764B114-B9EA-43BC-9AEA-5479FE374ACB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6792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2A1F-B051-4FBC-995E-335779E25F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65351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2A1F-B051-4FBC-995E-335779E25F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17B280C-D81B-4F7D-98EE-45CEDA729E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 hidden="1"/>
          <p:cNvSpPr txBox="1"/>
          <p:nvPr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470849"/>
            <a:ext cx="8265385" cy="2513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78CF7A-043F-4799-82CD-10B79799AD96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63524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6BBF15-F01C-4EF2-8D66-D2C35D990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55928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D6BBF15-F01C-4EF2-8D66-D2C35D990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6273" y="2091676"/>
            <a:ext cx="2346441" cy="104650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9"/>
              </a:spcAft>
              <a:buFontTx/>
              <a:buNone/>
            </a:pPr>
            <a:r>
              <a:rPr lang="en-US" sz="3326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0098" y="2711648"/>
            <a:ext cx="1032115" cy="255758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F17FD78-DAF3-4119-9D84-7A953A66E898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292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C982CE2-BEE6-4F19-B4C9-EA4498079D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013107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C982CE2-BEE6-4F19-B4C9-EA4498079D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96E475-2CC2-41AC-9140-B211FCA28037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47313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6F5690-3475-4765-86D7-FE00F7A36E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22770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6F5690-3475-4765-86D7-FE00F7A36E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3500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C9C716-50AF-4B53-830D-3E3E71F547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79512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C9C716-50AF-4B53-830D-3E3E71F54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830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367042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3295EBA1-8C04-4825-949C-A8967658D90D}"/>
              </a:ext>
            </a:extLst>
          </p:cNvPr>
          <p:cNvSpPr txBox="1">
            <a:spLocks/>
          </p:cNvSpPr>
          <p:nvPr userDrawn="1"/>
        </p:nvSpPr>
        <p:spPr>
          <a:xfrm>
            <a:off x="0" y="1993555"/>
            <a:ext cx="9217025" cy="979908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024"/>
              <a:t>THANK YOU</a:t>
            </a:r>
            <a:endParaRPr lang="en-SG" sz="3024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9A55903-7829-4D60-9EC3-69D13DDED2DB}"/>
              </a:ext>
            </a:extLst>
          </p:cNvPr>
          <p:cNvGrpSpPr/>
          <p:nvPr userDrawn="1"/>
        </p:nvGrpSpPr>
        <p:grpSpPr>
          <a:xfrm>
            <a:off x="0" y="2085432"/>
            <a:ext cx="9217025" cy="3099343"/>
            <a:chOff x="0" y="2758440"/>
            <a:chExt cx="12192000" cy="409956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3E679AA-E7C6-4951-9327-95A8495D9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0" y="2758440"/>
              <a:ext cx="12192000" cy="409956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6C37BA-2960-43FE-A8B8-917FDAE04CEC}"/>
                </a:ext>
              </a:extLst>
            </p:cNvPr>
            <p:cNvSpPr/>
            <p:nvPr/>
          </p:nvSpPr>
          <p:spPr>
            <a:xfrm>
              <a:off x="172720" y="5394960"/>
              <a:ext cx="3688080" cy="129032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7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89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D9906D-4D46-411C-AB62-CADADD3D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320648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D9906D-4D46-411C-AB62-CADADD3D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0" name="Group 49">
            <a:extLst>
              <a:ext uri="{FF2B5EF4-FFF2-40B4-BE49-F238E27FC236}">
                <a16:creationId xmlns:a16="http://schemas.microsoft.com/office/drawing/2014/main" id="{6102A332-0C7A-4A6F-8045-DD9D0A25E923}"/>
              </a:ext>
            </a:extLst>
          </p:cNvPr>
          <p:cNvGrpSpPr/>
          <p:nvPr userDrawn="1"/>
        </p:nvGrpSpPr>
        <p:grpSpPr>
          <a:xfrm>
            <a:off x="-454" y="-1"/>
            <a:ext cx="9218386" cy="5184776"/>
            <a:chOff x="-600" y="-1"/>
            <a:chExt cx="12193800" cy="6858001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1982AF37-A4FC-4201-86A1-88BAA8761F90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3D65D250-CDB4-4D3F-B43F-BEC9E44C585D}"/>
                  </a:ext>
                </a:extLst>
              </p:cNvPr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CE9EB5A0-9B57-4BEC-8F91-82A1B7FBE3E0}"/>
                  </a:ext>
                </a:extLst>
              </p:cNvPr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56AF10B3-5740-4441-A32D-6F1558001014}"/>
                  </a:ext>
                </a:extLst>
              </p:cNvPr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4A86479A-0C95-4920-AE8D-85A7FBD27198}"/>
                  </a:ext>
                </a:extLst>
              </p:cNvPr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595D13B5-EA31-43CF-BD6B-87450DA721F5}"/>
                  </a:ext>
                </a:extLst>
              </p:cNvPr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A9C056B-AAB2-49A1-9ED8-CB069274B498}"/>
                  </a:ext>
                </a:extLst>
              </p:cNvPr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5F0BC8E8-44DB-4582-810E-608A149781A9}"/>
                  </a:ext>
                </a:extLst>
              </p:cNvPr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56D8CFC-D9D7-4626-9539-005375518DCA}"/>
                  </a:ext>
                </a:extLst>
              </p:cNvPr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8E55AAEE-9EF6-49AD-AF6D-7FEEB2DE94AE}"/>
                  </a:ext>
                </a:extLst>
              </p:cNvPr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50897CF1-DCC2-40DE-B3A8-C3B0AC417860}"/>
                  </a:ext>
                </a:extLst>
              </p:cNvPr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575588E-7C77-49DB-A6F0-49DF55E4A41C}"/>
                  </a:ext>
                </a:extLst>
              </p:cNvPr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68EA56AF-79B7-43A7-8ED4-7C83C66F7DC4}"/>
                  </a:ext>
                </a:extLst>
              </p:cNvPr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540195D-247A-42CC-9848-3BF6D06AC8F8}"/>
                  </a:ext>
                </a:extLst>
              </p:cNvPr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F61D9A7B-F6FF-49A1-A953-8B947397C3C6}"/>
                  </a:ext>
                </a:extLst>
              </p:cNvPr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C9539CD-A48F-4BA6-8D20-E2EF5577BC4D}"/>
                  </a:ext>
                </a:extLst>
              </p:cNvPr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E598218-4C50-450E-80D7-7488A3902182}"/>
                  </a:ext>
                </a:extLst>
              </p:cNvPr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87EB795E-4759-4C6E-99A2-DB95485DA044}"/>
                  </a:ext>
                </a:extLst>
              </p:cNvPr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57CB7D65-A97C-481E-898B-BEF6862B1574}"/>
                  </a:ext>
                </a:extLst>
              </p:cNvPr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9CF205DE-3443-4909-A522-A581AD6FD8DE}"/>
                  </a:ext>
                </a:extLst>
              </p:cNvPr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7BDC623-F526-4A1C-B957-025420B8726C}"/>
                  </a:ext>
                </a:extLst>
              </p:cNvPr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265BA3AE-6F2B-4FFA-A9D4-5B0E2CEB408E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72" name="Rectangle 5">
                <a:extLst>
                  <a:ext uri="{FF2B5EF4-FFF2-40B4-BE49-F238E27FC236}">
                    <a16:creationId xmlns:a16="http://schemas.microsoft.com/office/drawing/2014/main" id="{691C63A3-7EC2-40D1-BCD7-CC3EF57674D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7">
                <a:extLst>
                  <a:ext uri="{FF2B5EF4-FFF2-40B4-BE49-F238E27FC236}">
                    <a16:creationId xmlns:a16="http://schemas.microsoft.com/office/drawing/2014/main" id="{46B4BF63-81B4-42F6-BFAF-112B2DF5D59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9">
                <a:extLst>
                  <a:ext uri="{FF2B5EF4-FFF2-40B4-BE49-F238E27FC236}">
                    <a16:creationId xmlns:a16="http://schemas.microsoft.com/office/drawing/2014/main" id="{E17D7CBE-2D91-4C7A-9F8F-6B8CE78ACBA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11">
                <a:extLst>
                  <a:ext uri="{FF2B5EF4-FFF2-40B4-BE49-F238E27FC236}">
                    <a16:creationId xmlns:a16="http://schemas.microsoft.com/office/drawing/2014/main" id="{771C7C2F-1BE3-42E4-B892-B1A7664F69F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13">
                <a:extLst>
                  <a:ext uri="{FF2B5EF4-FFF2-40B4-BE49-F238E27FC236}">
                    <a16:creationId xmlns:a16="http://schemas.microsoft.com/office/drawing/2014/main" id="{832DE4DC-DE45-486F-816C-88D190C7925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0A49C9B0-92C3-4EFB-9B7C-E2F4BF953CAE}"/>
                </a:ext>
              </a:extLst>
            </p:cNvPr>
            <p:cNvGrpSpPr/>
            <p:nvPr userDrawn="1"/>
          </p:nvGrpSpPr>
          <p:grpSpPr>
            <a:xfrm>
              <a:off x="-600" y="-1"/>
              <a:ext cx="12193800" cy="6858001"/>
              <a:chOff x="-600" y="-1"/>
              <a:chExt cx="12193800" cy="6858001"/>
            </a:xfrm>
          </p:grpSpPr>
          <p:sp>
            <p:nvSpPr>
              <p:cNvPr id="54" name="No fly zone">
                <a:extLst>
                  <a:ext uri="{FF2B5EF4-FFF2-40B4-BE49-F238E27FC236}">
                    <a16:creationId xmlns:a16="http://schemas.microsoft.com/office/drawing/2014/main" id="{F122CC3A-B13E-4E5C-B241-8A46C3796D51}"/>
                  </a:ext>
                </a:extLst>
              </p:cNvPr>
              <p:cNvSpPr/>
              <p:nvPr/>
            </p:nvSpPr>
            <p:spPr>
              <a:xfrm>
                <a:off x="0" y="-1"/>
                <a:ext cx="12193200" cy="6858000"/>
              </a:xfrm>
              <a:custGeom>
                <a:avLst/>
                <a:gdLst>
                  <a:gd name="connsiteX0" fmla="*/ 630001 w 12193200"/>
                  <a:gd name="connsiteY0" fmla="*/ 62280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0 w 12193200"/>
                  <a:gd name="connsiteY4" fmla="*/ 0 h 6858000"/>
                  <a:gd name="connsiteX5" fmla="*/ 12193200 w 12193200"/>
                  <a:gd name="connsiteY5" fmla="*/ 0 h 6858000"/>
                  <a:gd name="connsiteX6" fmla="*/ 12193200 w 12193200"/>
                  <a:gd name="connsiteY6" fmla="*/ 622800 h 6858000"/>
                  <a:gd name="connsiteX7" fmla="*/ 12192000 w 12193200"/>
                  <a:gd name="connsiteY7" fmla="*/ 622800 h 6858000"/>
                  <a:gd name="connsiteX8" fmla="*/ 12192000 w 12193200"/>
                  <a:gd name="connsiteY8" fmla="*/ 6160597 h 6858000"/>
                  <a:gd name="connsiteX9" fmla="*/ 12193200 w 12193200"/>
                  <a:gd name="connsiteY9" fmla="*/ 6160597 h 6858000"/>
                  <a:gd name="connsiteX10" fmla="*/ 12193200 w 12193200"/>
                  <a:gd name="connsiteY10" fmla="*/ 6858000 h 6858000"/>
                  <a:gd name="connsiteX11" fmla="*/ 12192000 w 12193200"/>
                  <a:gd name="connsiteY11" fmla="*/ 6858000 h 6858000"/>
                  <a:gd name="connsiteX12" fmla="*/ 11562000 w 12193200"/>
                  <a:gd name="connsiteY12" fmla="*/ 6858000 h 6858000"/>
                  <a:gd name="connsiteX13" fmla="*/ 630001 w 12193200"/>
                  <a:gd name="connsiteY13" fmla="*/ 6858000 h 6858000"/>
                  <a:gd name="connsiteX14" fmla="*/ 1 w 12193200"/>
                  <a:gd name="connsiteY14" fmla="*/ 6858000 h 6858000"/>
                  <a:gd name="connsiteX15" fmla="*/ 1 w 12193200"/>
                  <a:gd name="connsiteY15" fmla="*/ 6160597 h 6858000"/>
                  <a:gd name="connsiteX16" fmla="*/ 1 w 12193200"/>
                  <a:gd name="connsiteY16" fmla="*/ 622800 h 6858000"/>
                  <a:gd name="connsiteX17" fmla="*/ 0 w 12193200"/>
                  <a:gd name="connsiteY17" fmla="*/ 622800 h 6858000"/>
                  <a:gd name="connsiteX0" fmla="*/ 306151 w 12193200"/>
                  <a:gd name="connsiteY0" fmla="*/ 6037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306151 w 12193200"/>
                  <a:gd name="connsiteY4" fmla="*/ 6037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306151 w 12193200"/>
                  <a:gd name="connsiteY0" fmla="*/ 6037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306151 w 12193200"/>
                  <a:gd name="connsiteY4" fmla="*/ 6037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42651 w 12193200"/>
                  <a:gd name="connsiteY0" fmla="*/ 61010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42651 w 12193200"/>
                  <a:gd name="connsiteY4" fmla="*/ 61010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29951 w 12193200"/>
                  <a:gd name="connsiteY1" fmla="*/ 616694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959933 w 12193200"/>
                  <a:gd name="connsiteY2" fmla="*/ 6169064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959933 w 12193200"/>
                  <a:gd name="connsiteY2" fmla="*/ 6169064 h 6858000"/>
                  <a:gd name="connsiteX3" fmla="*/ 11955700 w 12193200"/>
                  <a:gd name="connsiteY3" fmla="*/ 631267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193200" h="6858000">
                    <a:moveTo>
                      <a:pt x="236301" y="616450"/>
                    </a:moveTo>
                    <a:cubicBezTo>
                      <a:pt x="234184" y="2466616"/>
                      <a:pt x="244768" y="4310431"/>
                      <a:pt x="242651" y="6160597"/>
                    </a:cubicBezTo>
                    <a:lnTo>
                      <a:pt x="11959933" y="6169064"/>
                    </a:lnTo>
                    <a:lnTo>
                      <a:pt x="11955700" y="631267"/>
                    </a:lnTo>
                    <a:lnTo>
                      <a:pt x="236301" y="616450"/>
                    </a:lnTo>
                    <a:close/>
                    <a:moveTo>
                      <a:pt x="0" y="0"/>
                    </a:moveTo>
                    <a:lnTo>
                      <a:pt x="12193200" y="0"/>
                    </a:lnTo>
                    <a:lnTo>
                      <a:pt x="12193200" y="622800"/>
                    </a:lnTo>
                    <a:lnTo>
                      <a:pt x="12192000" y="622800"/>
                    </a:lnTo>
                    <a:lnTo>
                      <a:pt x="12192000" y="6160597"/>
                    </a:lnTo>
                    <a:lnTo>
                      <a:pt x="12193200" y="6160597"/>
                    </a:lnTo>
                    <a:lnTo>
                      <a:pt x="12193200" y="6858000"/>
                    </a:lnTo>
                    <a:lnTo>
                      <a:pt x="12192000" y="6858000"/>
                    </a:lnTo>
                    <a:lnTo>
                      <a:pt x="11562000" y="6858000"/>
                    </a:lnTo>
                    <a:lnTo>
                      <a:pt x="630001" y="6858000"/>
                    </a:lnTo>
                    <a:lnTo>
                      <a:pt x="1" y="6858000"/>
                    </a:lnTo>
                    <a:lnTo>
                      <a:pt x="1" y="6160597"/>
                    </a:lnTo>
                    <a:lnTo>
                      <a:pt x="1" y="622800"/>
                    </a:lnTo>
                    <a:lnTo>
                      <a:pt x="0" y="6228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FEF">
                  <a:alpha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3ACE454F-CF71-414E-8FE4-F60ED1C7EFE3}"/>
                  </a:ext>
                </a:extLst>
              </p:cNvPr>
              <p:cNvGrpSpPr/>
              <p:nvPr userDrawn="1"/>
            </p:nvGrpSpPr>
            <p:grpSpPr>
              <a:xfrm>
                <a:off x="887176" y="623550"/>
                <a:ext cx="10417647" cy="5537047"/>
                <a:chOff x="887176" y="623550"/>
                <a:chExt cx="10417647" cy="5537047"/>
              </a:xfrm>
            </p:grpSpPr>
            <p:sp>
              <p:nvSpPr>
                <p:cNvPr id="61" name="Rectangle 34">
                  <a:extLst>
                    <a:ext uri="{FF2B5EF4-FFF2-40B4-BE49-F238E27FC236}">
                      <a16:creationId xmlns:a16="http://schemas.microsoft.com/office/drawing/2014/main" id="{00BB0AB4-497F-4D67-BF10-06B92CE83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6496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2" name="Rectangle 35">
                  <a:extLst>
                    <a:ext uri="{FF2B5EF4-FFF2-40B4-BE49-F238E27FC236}">
                      <a16:creationId xmlns:a16="http://schemas.microsoft.com/office/drawing/2014/main" id="{6F4BDA44-A9D6-479A-BF03-FCF7ED4A6A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99089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3" name="Rectangle 36">
                  <a:extLst>
                    <a:ext uri="{FF2B5EF4-FFF2-40B4-BE49-F238E27FC236}">
                      <a16:creationId xmlns:a16="http://schemas.microsoft.com/office/drawing/2014/main" id="{061B7CBF-0695-4857-A3D6-79C805489A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7793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4" name="Rectangle 37">
                  <a:extLst>
                    <a:ext uri="{FF2B5EF4-FFF2-40B4-BE49-F238E27FC236}">
                      <a16:creationId xmlns:a16="http://schemas.microsoft.com/office/drawing/2014/main" id="{560A30C6-9B7A-4089-ABC9-E668C7C8A6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00386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5" name="Rectangle 38">
                  <a:extLst>
                    <a:ext uri="{FF2B5EF4-FFF2-40B4-BE49-F238E27FC236}">
                      <a16:creationId xmlns:a16="http://schemas.microsoft.com/office/drawing/2014/main" id="{7B8857EC-83EF-4B93-A2FF-110FD853DF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16823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6" name="Rectangle 39">
                  <a:extLst>
                    <a:ext uri="{FF2B5EF4-FFF2-40B4-BE49-F238E27FC236}">
                      <a16:creationId xmlns:a16="http://schemas.microsoft.com/office/drawing/2014/main" id="{FCDA0ECC-B284-4FBD-8047-F4B2685A20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5200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7" name="Rectangle 40">
                  <a:extLst>
                    <a:ext uri="{FF2B5EF4-FFF2-40B4-BE49-F238E27FC236}">
                      <a16:creationId xmlns:a16="http://schemas.microsoft.com/office/drawing/2014/main" id="{1E972C28-90AF-4A55-9207-FA1278DE45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8717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8" name="Rectangle 41">
                  <a:extLst>
                    <a:ext uri="{FF2B5EF4-FFF2-40B4-BE49-F238E27FC236}">
                      <a16:creationId xmlns:a16="http://schemas.microsoft.com/office/drawing/2014/main" id="{1BA90298-5BD2-44F5-9D46-689F443A294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90014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9" name="Rectangle 42">
                  <a:extLst>
                    <a:ext uri="{FF2B5EF4-FFF2-40B4-BE49-F238E27FC236}">
                      <a16:creationId xmlns:a16="http://schemas.microsoft.com/office/drawing/2014/main" id="{8379E315-3FC0-4B04-B850-1072635F94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1310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0" name="Rectangle 43">
                  <a:extLst>
                    <a:ext uri="{FF2B5EF4-FFF2-40B4-BE49-F238E27FC236}">
                      <a16:creationId xmlns:a16="http://schemas.microsoft.com/office/drawing/2014/main" id="{406EC447-BAC1-4F8C-90F4-EAFF2D4FFC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2607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1" name="Rectangle 44">
                  <a:extLst>
                    <a:ext uri="{FF2B5EF4-FFF2-40B4-BE49-F238E27FC236}">
                      <a16:creationId xmlns:a16="http://schemas.microsoft.com/office/drawing/2014/main" id="{149EB6D4-D970-491A-B65D-E647C25039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3903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</p:grpSp>
          <p:sp>
            <p:nvSpPr>
              <p:cNvPr id="56" name="Slide edges">
                <a:extLst>
                  <a:ext uri="{FF2B5EF4-FFF2-40B4-BE49-F238E27FC236}">
                    <a16:creationId xmlns:a16="http://schemas.microsoft.com/office/drawing/2014/main" id="{FB567DE6-8D47-43D3-A76C-D40762E2BD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91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61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7" name="Footnote measure">
                <a:extLst>
                  <a:ext uri="{FF2B5EF4-FFF2-40B4-BE49-F238E27FC236}">
                    <a16:creationId xmlns:a16="http://schemas.microsoft.com/office/drawing/2014/main" id="{4355A932-52C2-4E71-87DD-1288EDE1140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32778" y="6159600"/>
                <a:ext cx="11726443" cy="378584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8" name="Whitespace measure">
                <a:extLst>
                  <a:ext uri="{FF2B5EF4-FFF2-40B4-BE49-F238E27FC236}">
                    <a16:creationId xmlns:a16="http://schemas.microsoft.com/office/drawing/2014/main" id="{F518C206-0D43-445E-9268-C58DE554547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32778" y="1497600"/>
                <a:ext cx="11726443" cy="58320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9" name="Live area">
                <a:extLst>
                  <a:ext uri="{FF2B5EF4-FFF2-40B4-BE49-F238E27FC236}">
                    <a16:creationId xmlns:a16="http://schemas.microsoft.com/office/drawing/2014/main" id="{E2EA580D-FE70-4DC6-A87A-5B9CA6418BEB}"/>
                  </a:ext>
                </a:extLst>
              </p:cNvPr>
              <p:cNvSpPr/>
              <p:nvPr userDrawn="1"/>
            </p:nvSpPr>
            <p:spPr>
              <a:xfrm>
                <a:off x="232778" y="2080801"/>
                <a:ext cx="11726443" cy="4078800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71C57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756"/>
                  </a:spcAft>
                </a:pPr>
                <a:endParaRPr lang="en-US" sz="907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0" name="Footnote example">
                <a:extLst>
                  <a:ext uri="{FF2B5EF4-FFF2-40B4-BE49-F238E27FC236}">
                    <a16:creationId xmlns:a16="http://schemas.microsoft.com/office/drawing/2014/main" id="{CB68A8E3-A33F-4C92-8130-B302D98F3EDF}"/>
                  </a:ext>
                </a:extLst>
              </p:cNvPr>
              <p:cNvSpPr txBox="1"/>
              <p:nvPr userDrawn="1"/>
            </p:nvSpPr>
            <p:spPr>
              <a:xfrm>
                <a:off x="232778" y="6144441"/>
                <a:ext cx="9030914" cy="415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1. xxxx  2. xxxx  3. List footnotes in numerical order. Footnote numbers are not bracketed. Use 10pt font</a:t>
                </a:r>
              </a:p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Note: Do not put a period at the end of the note or the source</a:t>
                </a:r>
              </a:p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Source: Include a source for every chart that you use. Separate sources with a semicolon; BCG-related sources go at the end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30990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3036910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 hidden="1"/>
          <p:cNvSpPr txBox="1"/>
          <p:nvPr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102695" cy="5184775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1349947"/>
            <a:ext cx="3071007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586" y="2566223"/>
            <a:ext cx="981709" cy="2700404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CC433AB-6F12-4920-BE97-C9343770D6D6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09752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640654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9424" y="3546624"/>
            <a:ext cx="702569" cy="75289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12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1897142" y="3546624"/>
            <a:ext cx="1187019" cy="1109968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8255" tIns="136078" rIns="138255" bIns="1382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7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6273" y="685859"/>
            <a:ext cx="2607257" cy="92260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62666" tIns="35380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4"/>
              </a:spcAft>
            </a:pPr>
            <a:endParaRPr lang="en-US" sz="4082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552371" y="843275"/>
            <a:ext cx="2454519" cy="6890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82" b="1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2267A45-E14C-44EA-9791-97DDE4BA205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88007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796886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71252" y="1079693"/>
            <a:ext cx="716430" cy="71645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71598" y="2016755"/>
            <a:ext cx="7272015" cy="241956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12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EB6172B-FFF5-41BF-9408-65702617DEB1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398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542574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76273" y="470849"/>
            <a:ext cx="5435564" cy="3559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70" b="1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7881" y="911758"/>
            <a:ext cx="8751565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EF2859E-12BE-432E-ABDC-7F4F5637537D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8479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7159676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75289" y="0"/>
            <a:ext cx="315211" cy="51847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85015" y="-989"/>
            <a:ext cx="6132011" cy="51857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6273" y="2425092"/>
            <a:ext cx="1367132" cy="3350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4"/>
              </a:spcAft>
            </a:pPr>
            <a:r>
              <a:rPr lang="en-US" sz="2419" b="1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B75D4A-83EB-4153-961B-C2219CFB246A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31415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427395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049424" y="3546624"/>
            <a:ext cx="702569" cy="752899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12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1897142" y="3546624"/>
            <a:ext cx="1187019" cy="1109968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8255" tIns="136078" rIns="138255" bIns="1382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7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6273" y="685858"/>
            <a:ext cx="2607257" cy="92260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62666" tIns="35380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4"/>
              </a:spcAft>
            </a:pPr>
            <a:endParaRPr lang="en-US" sz="4082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677404" y="843276"/>
            <a:ext cx="2204451" cy="6229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3629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6443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1263965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971252" y="1079693"/>
            <a:ext cx="716430" cy="716458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71598" y="2016755"/>
            <a:ext cx="7272015" cy="241956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12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0475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065601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476273" y="470849"/>
            <a:ext cx="5435564" cy="3559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70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7881" y="911758"/>
            <a:ext cx="8751565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483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291043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75289" y="0"/>
            <a:ext cx="315211" cy="5184775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85015" y="-989"/>
            <a:ext cx="6132011" cy="5185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6274" y="2466242"/>
            <a:ext cx="1043096" cy="2512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4"/>
              </a:spcAft>
            </a:pPr>
            <a:r>
              <a:rPr lang="en-US" sz="1814" b="1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C5ACCB-C472-41C8-A9EC-37EC482945CF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697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222221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6272" y="2091676"/>
            <a:ext cx="2368044" cy="104650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9"/>
              </a:spcAft>
              <a:buFontTx/>
              <a:buNone/>
            </a:pPr>
            <a:r>
              <a:rPr lang="en-US" sz="3326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0098" y="2711648"/>
            <a:ext cx="1032115" cy="255758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73FF010-FE9D-460E-8F10-1DC22430AD5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8711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517477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7" progId="TCLayout.ActiveDocument.1">
                  <p:embed/>
                </p:oleObj>
              </mc:Choice>
              <mc:Fallback>
                <p:oleObj name="think-cell Slide" r:id="rId5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3808F0-9E64-4A51-B0B9-32246F6573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79AD7E-3149-4D96-9244-47A4E8251261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BC1BE53-8605-45FA-9B96-1F453A512F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11424" b="5044"/>
          <a:stretch/>
        </p:blipFill>
        <p:spPr>
          <a:xfrm>
            <a:off x="167059" y="973585"/>
            <a:ext cx="8882908" cy="4032603"/>
          </a:xfrm>
          <a:prstGeom prst="rect">
            <a:avLst/>
          </a:prstGeom>
        </p:spPr>
      </p:pic>
      <p:sp>
        <p:nvSpPr>
          <p:cNvPr id="10" name="GradientOverlay">
            <a:extLst>
              <a:ext uri="{FF2B5EF4-FFF2-40B4-BE49-F238E27FC236}">
                <a16:creationId xmlns:a16="http://schemas.microsoft.com/office/drawing/2014/main" id="{31729085-BA82-4730-92E8-8F5CE892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67059" y="973585"/>
            <a:ext cx="8882908" cy="4032603"/>
          </a:xfrm>
          <a:prstGeom prst="rect">
            <a:avLst/>
          </a:prstGeom>
          <a:solidFill>
            <a:srgbClr val="000000">
              <a:alpha val="55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912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6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7384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483640-7E3D-42DC-9004-7F3CF3D832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651449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483640-7E3D-42DC-9004-7F3CF3D83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8BF93D-14D4-4E98-9D34-D5905AC7A7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102695" cy="5184775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1349947"/>
            <a:ext cx="3071007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704976" y="2582786"/>
            <a:ext cx="2037139" cy="2601989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D38A284-38DC-444E-BCC1-80FCA2B390B4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31710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02921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9102104-46F6-4D52-9C0C-A540D9A7D5B5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6756" y="176776"/>
            <a:ext cx="8883514" cy="483122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FF2F7F-276D-4C2B-A9A8-E830EAFF94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287" y="3257120"/>
            <a:ext cx="8260451" cy="565424"/>
          </a:xfrm>
        </p:spPr>
        <p:txBody>
          <a:bodyPr/>
          <a:lstStyle>
            <a:lvl1pPr>
              <a:defRPr sz="4082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54516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05585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7" progId="TCLayout.ActiveDocument.1">
                  <p:embed/>
                </p:oleObj>
              </mc:Choice>
              <mc:Fallback>
                <p:oleObj name="think-cell Slide" r:id="rId5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657B336-E859-4457-90A4-A53C6D2C460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217025" cy="5184775"/>
          </a:xfrm>
          <a:prstGeom prst="rect">
            <a:avLst/>
          </a:prstGeom>
        </p:spPr>
      </p:pic>
      <p:sp>
        <p:nvSpPr>
          <p:cNvPr id="16" name="GradientOverlay">
            <a:extLst>
              <a:ext uri="{FF2B5EF4-FFF2-40B4-BE49-F238E27FC236}">
                <a16:creationId xmlns:a16="http://schemas.microsoft.com/office/drawing/2014/main" id="{591B6E36-2415-44D2-8FB7-769F0ADCFB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365" y="0"/>
            <a:ext cx="9214295" cy="5184775"/>
          </a:xfrm>
          <a:prstGeom prst="rect">
            <a:avLst/>
          </a:prstGeom>
          <a:solidFill>
            <a:srgbClr val="000000">
              <a:alpha val="45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912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6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26B2E26-C65A-428A-998D-D68D61105F5B}"/>
              </a:ext>
            </a:extLst>
          </p:cNvPr>
          <p:cNvGrpSpPr/>
          <p:nvPr userDrawn="1"/>
        </p:nvGrpSpPr>
        <p:grpSpPr>
          <a:xfrm>
            <a:off x="0" y="0"/>
            <a:ext cx="9217025" cy="5184775"/>
            <a:chOff x="0" y="0"/>
            <a:chExt cx="12192000" cy="6858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AE30E9B-597C-45BB-BA2A-0D3BCD7F0FB9}"/>
                </a:ext>
              </a:extLst>
            </p:cNvPr>
            <p:cNvSpPr/>
            <p:nvPr/>
          </p:nvSpPr>
          <p:spPr>
            <a:xfrm>
              <a:off x="0" y="0"/>
              <a:ext cx="220578" cy="6858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5F8A2-1395-4B36-859A-024FD0665171}"/>
                </a:ext>
              </a:extLst>
            </p:cNvPr>
            <p:cNvSpPr/>
            <p:nvPr/>
          </p:nvSpPr>
          <p:spPr>
            <a:xfrm>
              <a:off x="11971421" y="0"/>
              <a:ext cx="220578" cy="6858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7454C65-F391-425D-AAF2-45D6B3171010}"/>
                </a:ext>
              </a:extLst>
            </p:cNvPr>
            <p:cNvSpPr/>
            <p:nvPr/>
          </p:nvSpPr>
          <p:spPr>
            <a:xfrm rot="16200000">
              <a:off x="5979088" y="-5979088"/>
              <a:ext cx="233824" cy="12192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53B6286-408D-4DA5-BE46-898AD2942963}"/>
                </a:ext>
              </a:extLst>
            </p:cNvPr>
            <p:cNvSpPr/>
            <p:nvPr/>
          </p:nvSpPr>
          <p:spPr>
            <a:xfrm rot="16200000">
              <a:off x="5979088" y="645088"/>
              <a:ext cx="233824" cy="12192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FF2F7F-276D-4C2B-A9A8-E830EAFF94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287" y="3681777"/>
            <a:ext cx="8260451" cy="1130848"/>
          </a:xfrm>
        </p:spPr>
        <p:txBody>
          <a:bodyPr/>
          <a:lstStyle>
            <a:lvl1pPr algn="r">
              <a:defRPr sz="4082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35956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874531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B9E74FE-D29C-4657-8F92-4CD73A0E992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217025" cy="5184775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8FF7F780-DCF4-48D5-9372-0D0CA6ECED94}"/>
              </a:ext>
            </a:extLst>
          </p:cNvPr>
          <p:cNvGrpSpPr/>
          <p:nvPr userDrawn="1"/>
        </p:nvGrpSpPr>
        <p:grpSpPr>
          <a:xfrm>
            <a:off x="0" y="0"/>
            <a:ext cx="9217025" cy="5184775"/>
            <a:chOff x="0" y="0"/>
            <a:chExt cx="12192000" cy="685800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51009AB-2B25-44CC-ACEA-3780E2849F57}"/>
                </a:ext>
              </a:extLst>
            </p:cNvPr>
            <p:cNvSpPr/>
            <p:nvPr/>
          </p:nvSpPr>
          <p:spPr>
            <a:xfrm>
              <a:off x="0" y="0"/>
              <a:ext cx="220578" cy="6858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C53D5C0-7715-41E3-84C6-2228CC20CE75}"/>
                </a:ext>
              </a:extLst>
            </p:cNvPr>
            <p:cNvSpPr/>
            <p:nvPr/>
          </p:nvSpPr>
          <p:spPr>
            <a:xfrm>
              <a:off x="11971421" y="0"/>
              <a:ext cx="220578" cy="6858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322B5E2-9CCD-49AE-8A79-2F3B7AF847EE}"/>
                </a:ext>
              </a:extLst>
            </p:cNvPr>
            <p:cNvSpPr/>
            <p:nvPr/>
          </p:nvSpPr>
          <p:spPr>
            <a:xfrm rot="16200000">
              <a:off x="5979088" y="-5979088"/>
              <a:ext cx="233824" cy="12192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C34B11E-67AE-4AF6-B866-4525073A2E28}"/>
                </a:ext>
              </a:extLst>
            </p:cNvPr>
            <p:cNvSpPr/>
            <p:nvPr/>
          </p:nvSpPr>
          <p:spPr>
            <a:xfrm rot="16200000">
              <a:off x="5979088" y="645088"/>
              <a:ext cx="233824" cy="12192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FF2F7F-276D-4C2B-A9A8-E830EAFF94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8021" y="2152614"/>
            <a:ext cx="3527761" cy="879548"/>
          </a:xfrm>
        </p:spPr>
        <p:txBody>
          <a:bodyPr/>
          <a:lstStyle>
            <a:lvl1pPr algn="l">
              <a:defRPr sz="21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10692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00133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ADC3E5-C1DE-4B56-AABB-41DD8B12AB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29" b="0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6" name="Picture Placeholder 1">
            <a:extLst>
              <a:ext uri="{FF2B5EF4-FFF2-40B4-BE49-F238E27FC236}">
                <a16:creationId xmlns:a16="http://schemas.microsoft.com/office/drawing/2014/main" id="{7ED8631D-1786-4364-87B2-A0C9A675B0C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62019" y="182428"/>
            <a:ext cx="8892989" cy="481992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485922E-E172-40DF-A19E-C3E9EE886437}"/>
              </a:ext>
            </a:extLst>
          </p:cNvPr>
          <p:cNvGrpSpPr/>
          <p:nvPr userDrawn="1"/>
        </p:nvGrpSpPr>
        <p:grpSpPr>
          <a:xfrm>
            <a:off x="342039" y="0"/>
            <a:ext cx="655848" cy="1143207"/>
            <a:chOff x="1551833" y="0"/>
            <a:chExt cx="867536" cy="151214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CE4BF45-21EC-40C3-9241-6684B1481B8C}"/>
                </a:ext>
              </a:extLst>
            </p:cNvPr>
            <p:cNvSpPr/>
            <p:nvPr/>
          </p:nvSpPr>
          <p:spPr>
            <a:xfrm>
              <a:off x="1551833" y="0"/>
              <a:ext cx="867536" cy="151214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61"/>
            </a:p>
          </p:txBody>
        </p:sp>
        <p:pic>
          <p:nvPicPr>
            <p:cNvPr id="23" name="Picture 105">
              <a:extLst>
                <a:ext uri="{FF2B5EF4-FFF2-40B4-BE49-F238E27FC236}">
                  <a16:creationId xmlns:a16="http://schemas.microsoft.com/office/drawing/2014/main" id="{A662EFD6-FD01-40E0-B3BE-29918D5F5A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2610"/>
            <a:stretch/>
          </p:blipFill>
          <p:spPr bwMode="auto">
            <a:xfrm>
              <a:off x="1719636" y="280455"/>
              <a:ext cx="531931" cy="637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105">
              <a:extLst>
                <a:ext uri="{FF2B5EF4-FFF2-40B4-BE49-F238E27FC236}">
                  <a16:creationId xmlns:a16="http://schemas.microsoft.com/office/drawing/2014/main" id="{97D77114-2D50-4FFF-98CF-02F19561058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694"/>
            <a:stretch/>
          </p:blipFill>
          <p:spPr bwMode="auto">
            <a:xfrm>
              <a:off x="1604799" y="872982"/>
              <a:ext cx="761604" cy="565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342039" y="2816452"/>
            <a:ext cx="4611199" cy="829815"/>
          </a:xfrm>
          <a:prstGeom prst="rect">
            <a:avLst/>
          </a:prstGeom>
          <a:solidFill>
            <a:srgbClr val="269B48">
              <a:alpha val="90000"/>
            </a:srgbClr>
          </a:solidFill>
        </p:spPr>
        <p:txBody>
          <a:bodyPr wrap="square" lIns="217440" tIns="153720" rIns="217440" bIns="153720" rtlCol="0" anchor="ctr">
            <a:spAutoFit/>
          </a:bodyPr>
          <a:lstStyle>
            <a:lvl1pPr algn="l">
              <a:lnSpc>
                <a:spcPct val="93000"/>
              </a:lnSpc>
              <a:defRPr lang="en-US" sz="3629" b="0" cap="none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in Title Cas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2039" y="4272220"/>
            <a:ext cx="4611199" cy="444116"/>
          </a:xfrm>
          <a:prstGeom prst="rect">
            <a:avLst/>
          </a:prstGeom>
          <a:solidFill>
            <a:srgbClr val="269B48">
              <a:alpha val="90000"/>
            </a:srgbClr>
          </a:solidFill>
        </p:spPr>
        <p:txBody>
          <a:bodyPr wrap="square" lIns="217440" tIns="153720" rIns="217440" bIns="153720" rtlCol="0" anchor="ctr">
            <a:noAutofit/>
          </a:bodyPr>
          <a:lstStyle>
            <a:lvl1pPr marL="0" indent="0" algn="l">
              <a:lnSpc>
                <a:spcPct val="110000"/>
              </a:lnSpc>
              <a:buNone/>
              <a:defRPr lang="en-US" sz="1361" dirty="0">
                <a:solidFill>
                  <a:srgbClr val="FFFFFF"/>
                </a:solidFill>
              </a:defRPr>
            </a:lvl1pPr>
            <a:lvl2pPr marL="345643" indent="0" algn="ctr">
              <a:buNone/>
              <a:defRPr sz="1512"/>
            </a:lvl2pPr>
            <a:lvl3pPr marL="691286" indent="0" algn="ctr">
              <a:buNone/>
              <a:defRPr sz="1361"/>
            </a:lvl3pPr>
            <a:lvl4pPr marL="1036930" indent="0" algn="ctr">
              <a:buNone/>
              <a:defRPr sz="1210"/>
            </a:lvl4pPr>
            <a:lvl5pPr marL="1382573" indent="0" algn="ctr">
              <a:buNone/>
              <a:defRPr sz="1210"/>
            </a:lvl5pPr>
            <a:lvl6pPr marL="1728216" indent="0" algn="ctr">
              <a:buNone/>
              <a:defRPr sz="1210"/>
            </a:lvl6pPr>
            <a:lvl7pPr marL="2073859" indent="0" algn="ctr">
              <a:buNone/>
              <a:defRPr sz="1210"/>
            </a:lvl7pPr>
            <a:lvl8pPr marL="2419502" indent="0" algn="ctr">
              <a:buNone/>
              <a:defRPr sz="1210"/>
            </a:lvl8pPr>
            <a:lvl9pPr marL="2765146" indent="0" algn="ctr">
              <a:buNone/>
              <a:defRPr sz="1210"/>
            </a:lvl9pPr>
          </a:lstStyle>
          <a:p>
            <a:pPr lvl="0"/>
            <a:r>
              <a:rPr lang="en-US"/>
              <a:t>Subtitle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027746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431530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3808F0-9E64-4A51-B0B9-32246F6573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79AD7E-3149-4D96-9244-47A4E8251261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1025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6FAAE9-8919-47A9-810A-46E2311D96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71145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66FAAE9-8919-47A9-810A-46E2311D96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8500858-A0DD-4BB9-810E-78957CD935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8FE3B21-3C70-4BD1-A080-B7BD33F4F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4667690-A174-4A13-9769-6A900873CD5A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356008"/>
          </a:xfrm>
        </p:spPr>
        <p:txBody>
          <a:bodyPr/>
          <a:lstStyle>
            <a:lvl1pPr>
              <a:defRPr sz="257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5978" y="1576774"/>
            <a:ext cx="8865067" cy="309145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2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2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2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17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17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5896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3575D1-DF5F-4A2C-B443-143DF390B2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917967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3575D1-DF5F-4A2C-B443-143DF390B2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989"/>
            <a:ext cx="3548918" cy="518576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128" tIns="34564" rIns="69128" bIns="345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6274" y="1167500"/>
            <a:ext cx="2609978" cy="1130848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19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627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0F3CC-F57A-4CB0-AFCA-F67131DDB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045202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0F3CC-F57A-4CB0-AFCA-F67131DDB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7E9FA7-5011-4D5F-B92D-C6B5D6244C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71252" y="2017088"/>
            <a:ext cx="7272991" cy="2420035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 hidden="1"/>
          <p:cNvSpPr txBox="1"/>
          <p:nvPr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71252" y="1079693"/>
            <a:ext cx="716430" cy="716458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77F7F8-F3E5-4976-983D-0ACF76B925F1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471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A80C3C-13F4-4554-949C-4C6887EE3D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765493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A80C3C-13F4-4554-949C-4C6887EE3D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AEC3DA-8DB8-4EF8-AC56-4724A11AAB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6273" y="2893132"/>
            <a:ext cx="8268107" cy="1543185"/>
          </a:xfrm>
        </p:spPr>
        <p:txBody>
          <a:bodyPr anchor="t">
            <a:noAutofit/>
          </a:bodyPr>
          <a:lstStyle>
            <a:lvl1pPr>
              <a:defRPr sz="4082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7881" y="2782160"/>
            <a:ext cx="8751565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7A772D2-6CBD-482A-894E-EF5055A3BCE6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843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3D8CED9-6B7C-4A74-94EF-EE5F2F24E2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174595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3D8CED9-6B7C-4A74-94EF-EE5F2F24E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73093" y="0"/>
            <a:ext cx="315211" cy="5184775"/>
          </a:xfrm>
          <a:prstGeom prst="rect">
            <a:avLst/>
          </a:prstGeom>
        </p:spPr>
      </p:pic>
      <p:sp>
        <p:nvSpPr>
          <p:cNvPr id="20" name="TextBox 19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84066" cy="5184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6274" y="2026964"/>
            <a:ext cx="2364645" cy="11308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19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D4E721-6E7C-4948-A4D5-02D85B94525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0325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5409D1-1A7F-4FB8-A6A1-D359C453EF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429991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5409D1-1A7F-4FB8-A6A1-D359C453EF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810774" cy="5184775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3533228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0685" y="2713809"/>
            <a:ext cx="1032115" cy="255758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B19D767-8B06-4A75-AFE0-245375BF85A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4200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538837-DB6D-4E09-AB25-EF719B572E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702728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538837-DB6D-4E09-AB25-EF719B572E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417124" y="0"/>
            <a:ext cx="315211" cy="51847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421924" cy="5184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4730076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CF4986-98F0-4237-B2F8-FEB20A917A6C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1051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920B35-5CE6-4003-B070-0B99656EA3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960581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920B35-5CE6-4003-B070-0B99656EA3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75289" y="0"/>
            <a:ext cx="315211" cy="5184775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6274" y="2026964"/>
            <a:ext cx="2364645" cy="11308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19"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85015" y="-989"/>
            <a:ext cx="6132011" cy="51857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D283CE-7332-4745-974B-206FC5C92DD5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2137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C3A3AB-B22A-4E78-AAF2-B7D6818619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49353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C3A3AB-B22A-4E78-AAF2-B7D6818619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912C19-5C10-44DF-87AB-756D1F0623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301265" y="0"/>
            <a:ext cx="315211" cy="51847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608512" y="0"/>
            <a:ext cx="4608513" cy="5184775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605505" y="0"/>
            <a:ext cx="4611519" cy="5184775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61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6273" y="1349947"/>
            <a:ext cx="3317585" cy="2484882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2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644BA7-7C7F-4624-A75A-78EEF8AA19AB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5601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9E504A-89E4-47DE-89D4-0157CAF96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02028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9E504A-89E4-47DE-89D4-0157CAF961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2DF5B05-156E-44CF-93DA-B264334A81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01769" y="0"/>
            <a:ext cx="315211" cy="51847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911493" y="0"/>
            <a:ext cx="3305532" cy="5184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911858" y="0"/>
            <a:ext cx="3305168" cy="5184775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1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6274" y="1364349"/>
            <a:ext cx="4723084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2B35CF-7EF2-4F9C-9709-A55C67A897C3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0080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B75645-0D7F-42A5-88A8-35BC969252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142258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B75645-0D7F-42A5-88A8-35BC969252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48A481D-67F9-4EFD-90EC-B84F2EB2AF4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19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152" y="99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BD0F91-B326-47BE-A875-91966F1E33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273" y="2089789"/>
            <a:ext cx="1873825" cy="993643"/>
          </a:xfrm>
        </p:spPr>
        <p:txBody>
          <a:bodyPr anchor="ctr"/>
          <a:lstStyle>
            <a:lvl1pPr>
              <a:defRPr sz="2419" b="1" cap="all" baseline="0"/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093" y="2714408"/>
            <a:ext cx="1032115" cy="255758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86B84F9-45A6-420D-B328-0DCEAB1D7237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2470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6C7BDA-2459-4A47-BBED-1A6064FC55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897283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6C7BDA-2459-4A47-BBED-1A6064FC55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8A606A-23AB-435F-9FF9-9E3122B829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19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2089789"/>
            <a:ext cx="1873825" cy="993643"/>
          </a:xfrm>
        </p:spPr>
        <p:txBody>
          <a:bodyPr anchor="ctr" anchorCtr="0">
            <a:noAutofit/>
          </a:bodyPr>
          <a:lstStyle>
            <a:lvl1pPr>
              <a:defRPr sz="2419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44007" y="2572602"/>
            <a:ext cx="2037139" cy="2617143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C7145E8-58AB-4E4F-9673-012D0BAFBAAF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91084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1133149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 hidden="1"/>
          <p:cNvSpPr txBox="1"/>
          <p:nvPr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102695" cy="5184775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1349947"/>
            <a:ext cx="3071007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586" y="2566223"/>
            <a:ext cx="981709" cy="2700404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CC433AB-6F12-4920-BE97-C9343770D6D6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61547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483640-7E3D-42DC-9004-7F3CF3D832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93253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483640-7E3D-42DC-9004-7F3CF3D83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8BF93D-14D4-4E98-9D34-D5905AC7A7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102695" cy="5184775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1349947"/>
            <a:ext cx="3071007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704976" y="2582786"/>
            <a:ext cx="2037139" cy="2601989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D38A284-38DC-444E-BCC1-80FCA2B390B4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7234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5409D1-1A7F-4FB8-A6A1-D359C453EF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5558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5409D1-1A7F-4FB8-A6A1-D359C453EF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810774" cy="5184775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3533228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0685" y="2713809"/>
            <a:ext cx="1032115" cy="255758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B19D767-8B06-4A75-AFE0-245375BF85A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90498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9A8252-861C-413E-9DCC-DB5DAA747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067811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9A8252-861C-413E-9DCC-DB5DAA747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4810774" cy="5184775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3533228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Box 12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71844" y="2576362"/>
            <a:ext cx="2037139" cy="2613217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E476042-7553-4376-AFF8-704A8EB5A93A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003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9A8252-861C-413E-9DCC-DB5DAA747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171079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9A8252-861C-413E-9DCC-DB5DAA747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4810774" cy="5184775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3533228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Box 12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71844" y="2576362"/>
            <a:ext cx="2037139" cy="2613217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E476042-7553-4376-AFF8-704A8EB5A93A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76539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F44CA1-4557-4683-BF1E-07A66B0151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7171662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F44CA1-4557-4683-BF1E-07A66B0151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85269" cy="51847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4730076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618" y="2713809"/>
            <a:ext cx="1032115" cy="255758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1CB354E-049E-4041-99DF-C568D3B3DF44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86544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F8840C-250E-4DC9-AD84-0613F33CC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459598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F8840C-250E-4DC9-AD84-0613F33CC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85269" cy="51847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4730076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65059" y="2576362"/>
            <a:ext cx="2037139" cy="2613217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EA0AB3B-AAEA-4D78-96D5-999412D98A5E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115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58B098-6278-4BFE-8968-E5D32BD2CF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790179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58B098-6278-4BFE-8968-E5D32BD2CF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EA148F-F457-4E6C-82B4-9AC93A391D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 hidden="1"/>
          <p:cNvSpPr txBox="1"/>
          <p:nvPr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2892778"/>
            <a:ext cx="8265385" cy="1214582"/>
          </a:xfrm>
        </p:spPr>
        <p:txBody>
          <a:bodyPr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AA09F6-94A2-4517-9E2C-9E20194F2F47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23838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599FAF-9DCA-489E-A763-0BFAEEE51C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45286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599FAF-9DCA-489E-A763-0BFAEEE51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6AF7F3-6AC4-44FF-80D6-D692F7302A4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6274" y="472871"/>
            <a:ext cx="705102" cy="70512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2892778"/>
            <a:ext cx="8265385" cy="121458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96086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3799475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138799" y="76838"/>
            <a:ext cx="581573" cy="757488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9217025" cy="4435814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9128" tIns="34564" rIns="69128" bIns="34564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61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2A4D04-26F6-4956-B437-28E2C3B96EDB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4305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ABFB1DD-CE29-45EF-AE06-CA88630D8D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883118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ABFB1DD-CE29-45EF-AE06-CA88630D8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298FF70-C3F4-484B-8F54-6600FD24EA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6274" y="470848"/>
            <a:ext cx="8265385" cy="356008"/>
          </a:xfrm>
        </p:spPr>
        <p:txBody>
          <a:bodyPr/>
          <a:lstStyle>
            <a:lvl1pPr>
              <a:defRPr sz="257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196A989-A599-49E8-AF61-AA5C244BC59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697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AD159A-9AA8-4170-80C6-4BC81B0D51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10925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AD159A-9AA8-4170-80C6-4BC81B0D51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24478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960183-1C93-430B-AD2E-E959FA4A5E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807202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960183-1C93-430B-AD2E-E959FA4A5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8C26A1-8561-4C93-A7BA-944D074B5580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986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1481B1-0F69-46D4-8CD6-26EAD8059D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597887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1481B1-0F69-46D4-8CD6-26EAD8059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5923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064658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78A614D2-67CD-43BD-94BD-46E15BE70201}"/>
              </a:ext>
            </a:extLst>
          </p:cNvPr>
          <p:cNvSpPr txBox="1">
            <a:spLocks/>
          </p:cNvSpPr>
          <p:nvPr userDrawn="1"/>
        </p:nvSpPr>
        <p:spPr>
          <a:xfrm>
            <a:off x="0" y="1993555"/>
            <a:ext cx="9217025" cy="979908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024"/>
              <a:t>THANK YOU</a:t>
            </a:r>
            <a:endParaRPr lang="en-SG" sz="3024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25A700D-5D0F-4D42-AAAC-39CC04DD0080}"/>
              </a:ext>
            </a:extLst>
          </p:cNvPr>
          <p:cNvGrpSpPr/>
          <p:nvPr userDrawn="1"/>
        </p:nvGrpSpPr>
        <p:grpSpPr>
          <a:xfrm>
            <a:off x="0" y="2085432"/>
            <a:ext cx="9217025" cy="3099343"/>
            <a:chOff x="0" y="2758440"/>
            <a:chExt cx="12192000" cy="409956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A332B39-159A-4F4D-B903-292E5A40B5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0" y="2758440"/>
              <a:ext cx="12192000" cy="409956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32C7C4F-8984-40EF-A38A-F9C0A3166FA6}"/>
                </a:ext>
              </a:extLst>
            </p:cNvPr>
            <p:cNvSpPr/>
            <p:nvPr/>
          </p:nvSpPr>
          <p:spPr>
            <a:xfrm>
              <a:off x="172720" y="5394960"/>
              <a:ext cx="3688080" cy="129032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7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093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F44CA1-4557-4683-BF1E-07A66B0151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86813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F44CA1-4557-4683-BF1E-07A66B0151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85269" cy="51847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4730076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618" y="2713809"/>
            <a:ext cx="1032115" cy="255758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1CB354E-049E-4041-99DF-C568D3B3DF44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2596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F6E062-4EAA-4279-90F5-9651781D1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953473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F6E062-4EAA-4279-90F5-9651781D1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EDC90085-BE9D-4B57-AF55-486CFB2FE41D}"/>
              </a:ext>
            </a:extLst>
          </p:cNvPr>
          <p:cNvGrpSpPr/>
          <p:nvPr userDrawn="1"/>
        </p:nvGrpSpPr>
        <p:grpSpPr>
          <a:xfrm>
            <a:off x="-454" y="-1"/>
            <a:ext cx="9218386" cy="5184776"/>
            <a:chOff x="-600" y="-1"/>
            <a:chExt cx="12193800" cy="685800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C617232-9F05-4EB3-8D1F-C4D80DD22BE8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F3505CD-42D1-4A8C-ACD1-E74489AC6449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2A6F0F7-2EF3-48C4-8EE0-BC1883413E0C}"/>
                </a:ext>
              </a:extLst>
            </p:cNvPr>
            <p:cNvGrpSpPr/>
            <p:nvPr userDrawn="1"/>
          </p:nvGrpSpPr>
          <p:grpSpPr>
            <a:xfrm>
              <a:off x="-600" y="-1"/>
              <a:ext cx="12193800" cy="6858001"/>
              <a:chOff x="-600" y="-1"/>
              <a:chExt cx="12193800" cy="6858001"/>
            </a:xfrm>
          </p:grpSpPr>
          <p:sp>
            <p:nvSpPr>
              <p:cNvPr id="50" name="No fly zone"/>
              <p:cNvSpPr/>
              <p:nvPr/>
            </p:nvSpPr>
            <p:spPr>
              <a:xfrm>
                <a:off x="0" y="-1"/>
                <a:ext cx="12193200" cy="6858000"/>
              </a:xfrm>
              <a:custGeom>
                <a:avLst/>
                <a:gdLst>
                  <a:gd name="connsiteX0" fmla="*/ 630001 w 12193200"/>
                  <a:gd name="connsiteY0" fmla="*/ 62280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0 w 12193200"/>
                  <a:gd name="connsiteY4" fmla="*/ 0 h 6858000"/>
                  <a:gd name="connsiteX5" fmla="*/ 12193200 w 12193200"/>
                  <a:gd name="connsiteY5" fmla="*/ 0 h 6858000"/>
                  <a:gd name="connsiteX6" fmla="*/ 12193200 w 12193200"/>
                  <a:gd name="connsiteY6" fmla="*/ 622800 h 6858000"/>
                  <a:gd name="connsiteX7" fmla="*/ 12192000 w 12193200"/>
                  <a:gd name="connsiteY7" fmla="*/ 622800 h 6858000"/>
                  <a:gd name="connsiteX8" fmla="*/ 12192000 w 12193200"/>
                  <a:gd name="connsiteY8" fmla="*/ 6160597 h 6858000"/>
                  <a:gd name="connsiteX9" fmla="*/ 12193200 w 12193200"/>
                  <a:gd name="connsiteY9" fmla="*/ 6160597 h 6858000"/>
                  <a:gd name="connsiteX10" fmla="*/ 12193200 w 12193200"/>
                  <a:gd name="connsiteY10" fmla="*/ 6858000 h 6858000"/>
                  <a:gd name="connsiteX11" fmla="*/ 12192000 w 12193200"/>
                  <a:gd name="connsiteY11" fmla="*/ 6858000 h 6858000"/>
                  <a:gd name="connsiteX12" fmla="*/ 11562000 w 12193200"/>
                  <a:gd name="connsiteY12" fmla="*/ 6858000 h 6858000"/>
                  <a:gd name="connsiteX13" fmla="*/ 630001 w 12193200"/>
                  <a:gd name="connsiteY13" fmla="*/ 6858000 h 6858000"/>
                  <a:gd name="connsiteX14" fmla="*/ 1 w 12193200"/>
                  <a:gd name="connsiteY14" fmla="*/ 6858000 h 6858000"/>
                  <a:gd name="connsiteX15" fmla="*/ 1 w 12193200"/>
                  <a:gd name="connsiteY15" fmla="*/ 6160597 h 6858000"/>
                  <a:gd name="connsiteX16" fmla="*/ 1 w 12193200"/>
                  <a:gd name="connsiteY16" fmla="*/ 622800 h 6858000"/>
                  <a:gd name="connsiteX17" fmla="*/ 0 w 12193200"/>
                  <a:gd name="connsiteY17" fmla="*/ 622800 h 6858000"/>
                  <a:gd name="connsiteX0" fmla="*/ 306151 w 12193200"/>
                  <a:gd name="connsiteY0" fmla="*/ 6037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306151 w 12193200"/>
                  <a:gd name="connsiteY4" fmla="*/ 6037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306151 w 12193200"/>
                  <a:gd name="connsiteY0" fmla="*/ 6037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306151 w 12193200"/>
                  <a:gd name="connsiteY4" fmla="*/ 6037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42651 w 12193200"/>
                  <a:gd name="connsiteY0" fmla="*/ 61010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42651 w 12193200"/>
                  <a:gd name="connsiteY4" fmla="*/ 61010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29951 w 12193200"/>
                  <a:gd name="connsiteY1" fmla="*/ 616694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959933 w 12193200"/>
                  <a:gd name="connsiteY2" fmla="*/ 6169064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959933 w 12193200"/>
                  <a:gd name="connsiteY2" fmla="*/ 6169064 h 6858000"/>
                  <a:gd name="connsiteX3" fmla="*/ 11955700 w 12193200"/>
                  <a:gd name="connsiteY3" fmla="*/ 631267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193200" h="6858000">
                    <a:moveTo>
                      <a:pt x="236301" y="616450"/>
                    </a:moveTo>
                    <a:cubicBezTo>
                      <a:pt x="234184" y="2466616"/>
                      <a:pt x="244768" y="4310431"/>
                      <a:pt x="242651" y="6160597"/>
                    </a:cubicBezTo>
                    <a:lnTo>
                      <a:pt x="11959933" y="6169064"/>
                    </a:lnTo>
                    <a:lnTo>
                      <a:pt x="11955700" y="631267"/>
                    </a:lnTo>
                    <a:lnTo>
                      <a:pt x="236301" y="616450"/>
                    </a:lnTo>
                    <a:close/>
                    <a:moveTo>
                      <a:pt x="0" y="0"/>
                    </a:moveTo>
                    <a:lnTo>
                      <a:pt x="12193200" y="0"/>
                    </a:lnTo>
                    <a:lnTo>
                      <a:pt x="12193200" y="622800"/>
                    </a:lnTo>
                    <a:lnTo>
                      <a:pt x="12192000" y="622800"/>
                    </a:lnTo>
                    <a:lnTo>
                      <a:pt x="12192000" y="6160597"/>
                    </a:lnTo>
                    <a:lnTo>
                      <a:pt x="12193200" y="6160597"/>
                    </a:lnTo>
                    <a:lnTo>
                      <a:pt x="12193200" y="6858000"/>
                    </a:lnTo>
                    <a:lnTo>
                      <a:pt x="12192000" y="6858000"/>
                    </a:lnTo>
                    <a:lnTo>
                      <a:pt x="11562000" y="6858000"/>
                    </a:lnTo>
                    <a:lnTo>
                      <a:pt x="630001" y="6858000"/>
                    </a:lnTo>
                    <a:lnTo>
                      <a:pt x="1" y="6858000"/>
                    </a:lnTo>
                    <a:lnTo>
                      <a:pt x="1" y="6160597"/>
                    </a:lnTo>
                    <a:lnTo>
                      <a:pt x="1" y="622800"/>
                    </a:lnTo>
                    <a:lnTo>
                      <a:pt x="0" y="6228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FEF">
                  <a:alpha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87DB36DF-7F92-4D41-9295-EA780EA6EF46}"/>
                  </a:ext>
                </a:extLst>
              </p:cNvPr>
              <p:cNvGrpSpPr/>
              <p:nvPr userDrawn="1"/>
            </p:nvGrpSpPr>
            <p:grpSpPr>
              <a:xfrm>
                <a:off x="887176" y="623550"/>
                <a:ext cx="10417647" cy="5537047"/>
                <a:chOff x="887176" y="623550"/>
                <a:chExt cx="10417647" cy="5537047"/>
              </a:xfrm>
            </p:grpSpPr>
            <p:sp>
              <p:nvSpPr>
                <p:cNvPr id="66" name="Rectangle 34"/>
                <p:cNvSpPr>
                  <a:spLocks noChangeArrowheads="1"/>
                </p:cNvSpPr>
                <p:nvPr/>
              </p:nvSpPr>
              <p:spPr bwMode="auto">
                <a:xfrm>
                  <a:off x="696496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7" name="Rectangle 35"/>
                <p:cNvSpPr>
                  <a:spLocks noChangeArrowheads="1"/>
                </p:cNvSpPr>
                <p:nvPr/>
              </p:nvSpPr>
              <p:spPr bwMode="auto">
                <a:xfrm>
                  <a:off x="899089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8" name="Rectangle 36"/>
                <p:cNvSpPr>
                  <a:spLocks noChangeArrowheads="1"/>
                </p:cNvSpPr>
                <p:nvPr/>
              </p:nvSpPr>
              <p:spPr bwMode="auto">
                <a:xfrm>
                  <a:off x="797793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9" name="Rectangle 37"/>
                <p:cNvSpPr>
                  <a:spLocks noChangeArrowheads="1"/>
                </p:cNvSpPr>
                <p:nvPr/>
              </p:nvSpPr>
              <p:spPr bwMode="auto">
                <a:xfrm>
                  <a:off x="1000386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0" name="Rectangle 38"/>
                <p:cNvSpPr>
                  <a:spLocks noChangeArrowheads="1"/>
                </p:cNvSpPr>
                <p:nvPr/>
              </p:nvSpPr>
              <p:spPr bwMode="auto">
                <a:xfrm>
                  <a:off x="11016823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1" name="Rectangle 39"/>
                <p:cNvSpPr>
                  <a:spLocks noChangeArrowheads="1"/>
                </p:cNvSpPr>
                <p:nvPr/>
              </p:nvSpPr>
              <p:spPr bwMode="auto">
                <a:xfrm>
                  <a:off x="595200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2" name="Rectangle 40"/>
                <p:cNvSpPr>
                  <a:spLocks noChangeArrowheads="1"/>
                </p:cNvSpPr>
                <p:nvPr/>
              </p:nvSpPr>
              <p:spPr bwMode="auto">
                <a:xfrm>
                  <a:off x="88717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3" name="Rectangle 41"/>
                <p:cNvSpPr>
                  <a:spLocks noChangeArrowheads="1"/>
                </p:cNvSpPr>
                <p:nvPr/>
              </p:nvSpPr>
              <p:spPr bwMode="auto">
                <a:xfrm>
                  <a:off x="190014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4" name="Rectangle 42"/>
                <p:cNvSpPr>
                  <a:spLocks noChangeArrowheads="1"/>
                </p:cNvSpPr>
                <p:nvPr/>
              </p:nvSpPr>
              <p:spPr bwMode="auto">
                <a:xfrm>
                  <a:off x="291310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5" name="Rectangle 43"/>
                <p:cNvSpPr>
                  <a:spLocks noChangeArrowheads="1"/>
                </p:cNvSpPr>
                <p:nvPr/>
              </p:nvSpPr>
              <p:spPr bwMode="auto">
                <a:xfrm>
                  <a:off x="392607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6" name="Rectangle 44"/>
                <p:cNvSpPr>
                  <a:spLocks noChangeArrowheads="1"/>
                </p:cNvSpPr>
                <p:nvPr/>
              </p:nvSpPr>
              <p:spPr bwMode="auto">
                <a:xfrm>
                  <a:off x="493903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</p:grpSp>
          <p:sp>
            <p:nvSpPr>
              <p:cNvPr id="53" name="Slide edges"/>
              <p:cNvSpPr>
                <a:spLocks/>
              </p:cNvSpPr>
              <p:nvPr userDrawn="1"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91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61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 userDrawn="1"/>
            </p:nvSpPr>
            <p:spPr bwMode="auto">
              <a:xfrm>
                <a:off x="232778" y="6159600"/>
                <a:ext cx="11726443" cy="378584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7" name="Whitespace measure"/>
              <p:cNvSpPr>
                <a:spLocks noChangeArrowheads="1"/>
              </p:cNvSpPr>
              <p:nvPr userDrawn="1"/>
            </p:nvSpPr>
            <p:spPr bwMode="auto">
              <a:xfrm>
                <a:off x="232778" y="1497600"/>
                <a:ext cx="11726443" cy="58320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9" name="Live area"/>
              <p:cNvSpPr/>
              <p:nvPr userDrawn="1"/>
            </p:nvSpPr>
            <p:spPr>
              <a:xfrm>
                <a:off x="232778" y="2080801"/>
                <a:ext cx="11726443" cy="4078800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71C57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756"/>
                  </a:spcAft>
                </a:pPr>
                <a:endParaRPr lang="en-US" sz="907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0" name="Footnote example"/>
              <p:cNvSpPr txBox="1"/>
              <p:nvPr userDrawn="1"/>
            </p:nvSpPr>
            <p:spPr>
              <a:xfrm>
                <a:off x="232778" y="6144441"/>
                <a:ext cx="9030914" cy="415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1. xxxx  2. xxxx  3. List footnotes in numerical order. Footnote numbers are not bracketed. Use 10pt font</a:t>
                </a:r>
              </a:p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Note: Do not put a period at the end of the note or the source</a:t>
                </a:r>
              </a:p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Source: Include a source for every chart that you use. Separate sources with a semicolon; BCG-related sources go at the end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33298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23522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38FAA8-D28A-4D9B-A153-1CB1B70827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29" b="0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7" name="Picture Placeholder 1">
            <a:extLst>
              <a:ext uri="{FF2B5EF4-FFF2-40B4-BE49-F238E27FC236}">
                <a16:creationId xmlns:a16="http://schemas.microsoft.com/office/drawing/2014/main" id="{CF8F4D1F-FA98-438E-852D-8C37076AE1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62019" y="182428"/>
            <a:ext cx="8892989" cy="481992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4CFF19D0-935E-4069-B6E6-800E642867C8}"/>
              </a:ext>
            </a:extLst>
          </p:cNvPr>
          <p:cNvGrpSpPr/>
          <p:nvPr userDrawn="1"/>
        </p:nvGrpSpPr>
        <p:grpSpPr>
          <a:xfrm>
            <a:off x="342039" y="0"/>
            <a:ext cx="655848" cy="1143207"/>
            <a:chOff x="1551833" y="0"/>
            <a:chExt cx="867536" cy="151214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EF1493A-B8D0-48C1-896F-B5F656205C31}"/>
                </a:ext>
              </a:extLst>
            </p:cNvPr>
            <p:cNvSpPr/>
            <p:nvPr/>
          </p:nvSpPr>
          <p:spPr>
            <a:xfrm>
              <a:off x="1551833" y="0"/>
              <a:ext cx="867536" cy="151214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61"/>
            </a:p>
          </p:txBody>
        </p:sp>
        <p:pic>
          <p:nvPicPr>
            <p:cNvPr id="10" name="Picture 105">
              <a:extLst>
                <a:ext uri="{FF2B5EF4-FFF2-40B4-BE49-F238E27FC236}">
                  <a16:creationId xmlns:a16="http://schemas.microsoft.com/office/drawing/2014/main" id="{3D328AC3-8839-47C9-92B4-79578537729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2610"/>
            <a:stretch/>
          </p:blipFill>
          <p:spPr bwMode="auto">
            <a:xfrm>
              <a:off x="1719636" y="280455"/>
              <a:ext cx="531931" cy="637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5">
              <a:extLst>
                <a:ext uri="{FF2B5EF4-FFF2-40B4-BE49-F238E27FC236}">
                  <a16:creationId xmlns:a16="http://schemas.microsoft.com/office/drawing/2014/main" id="{F691058F-7698-447A-A67A-C1024460267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694"/>
            <a:stretch/>
          </p:blipFill>
          <p:spPr bwMode="auto">
            <a:xfrm>
              <a:off x="1604799" y="872982"/>
              <a:ext cx="761604" cy="565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52999FD9-A847-4517-B1C1-BA03CD16B59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342039" y="2816452"/>
            <a:ext cx="4611199" cy="829815"/>
          </a:xfrm>
          <a:prstGeom prst="rect">
            <a:avLst/>
          </a:prstGeom>
          <a:solidFill>
            <a:srgbClr val="269B48">
              <a:alpha val="90000"/>
            </a:srgbClr>
          </a:solidFill>
        </p:spPr>
        <p:txBody>
          <a:bodyPr wrap="square" lIns="217440" tIns="153720" rIns="217440" bIns="153720" rtlCol="0" anchor="ctr">
            <a:spAutoFit/>
          </a:bodyPr>
          <a:lstStyle>
            <a:lvl1pPr algn="l">
              <a:lnSpc>
                <a:spcPct val="93000"/>
              </a:lnSpc>
              <a:defRPr lang="en-US" sz="3629" b="0" cap="none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in Title Cas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582E4A0B-8B9F-424D-A8AA-D7E423DB40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2039" y="4272220"/>
            <a:ext cx="4611199" cy="444116"/>
          </a:xfrm>
          <a:prstGeom prst="rect">
            <a:avLst/>
          </a:prstGeom>
          <a:solidFill>
            <a:srgbClr val="269B48">
              <a:alpha val="90000"/>
            </a:srgbClr>
          </a:solidFill>
        </p:spPr>
        <p:txBody>
          <a:bodyPr wrap="square" lIns="217440" tIns="153720" rIns="217440" bIns="153720" rtlCol="0" anchor="ctr">
            <a:noAutofit/>
          </a:bodyPr>
          <a:lstStyle>
            <a:lvl1pPr marL="0" indent="0" algn="l">
              <a:lnSpc>
                <a:spcPct val="110000"/>
              </a:lnSpc>
              <a:buNone/>
              <a:defRPr lang="en-US" sz="1361" dirty="0">
                <a:solidFill>
                  <a:srgbClr val="FFFFFF"/>
                </a:solidFill>
              </a:defRPr>
            </a:lvl1pPr>
            <a:lvl2pPr marL="345643" indent="0" algn="ctr">
              <a:buNone/>
              <a:defRPr sz="1512"/>
            </a:lvl2pPr>
            <a:lvl3pPr marL="691286" indent="0" algn="ctr">
              <a:buNone/>
              <a:defRPr sz="1361"/>
            </a:lvl3pPr>
            <a:lvl4pPr marL="1036930" indent="0" algn="ctr">
              <a:buNone/>
              <a:defRPr sz="1210"/>
            </a:lvl4pPr>
            <a:lvl5pPr marL="1382573" indent="0" algn="ctr">
              <a:buNone/>
              <a:defRPr sz="1210"/>
            </a:lvl5pPr>
            <a:lvl6pPr marL="1728216" indent="0" algn="ctr">
              <a:buNone/>
              <a:defRPr sz="1210"/>
            </a:lvl6pPr>
            <a:lvl7pPr marL="2073859" indent="0" algn="ctr">
              <a:buNone/>
              <a:defRPr sz="1210"/>
            </a:lvl7pPr>
            <a:lvl8pPr marL="2419502" indent="0" algn="ctr">
              <a:buNone/>
              <a:defRPr sz="1210"/>
            </a:lvl8pPr>
            <a:lvl9pPr marL="2765146" indent="0" algn="ctr">
              <a:buNone/>
              <a:defRPr sz="1210"/>
            </a:lvl9pPr>
          </a:lstStyle>
          <a:p>
            <a:pPr lvl="0"/>
            <a:r>
              <a:rPr lang="en-US"/>
              <a:t>Subtitle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16815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802C37-F4E1-4E2F-BE78-27024D53A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896583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802C37-F4E1-4E2F-BE78-27024D53A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E701B6-155C-447A-8BB3-D92030917D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124AD70-E558-4B24-B872-E88B283623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2513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B4F35-6FFE-47FF-9376-11F21018FC3E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9039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802C37-F4E1-4E2F-BE78-27024D53A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6935452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802C37-F4E1-4E2F-BE78-27024D53A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E701B6-155C-447A-8BB3-D92030917D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58AB5F-B36F-4977-9F5F-4983763213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88A46CD-A84C-488A-BF98-457AF80B516D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75981" y="170426"/>
            <a:ext cx="8260451" cy="571285"/>
          </a:xfrm>
        </p:spPr>
        <p:txBody>
          <a:bodyPr lIns="91440" tIns="45720" rIns="91440" bIns="45720" anchor="ctr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1062E2-C490-40DB-972F-4D0130C877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6131" y="931695"/>
            <a:ext cx="8864914" cy="326468"/>
          </a:xfrm>
        </p:spPr>
        <p:txBody>
          <a:bodyPr lIns="91440" tIns="45720" rIns="91440" bIns="45720" anchor="ctr" anchorCtr="0"/>
          <a:lstStyle>
            <a:lvl1pPr>
              <a:defRPr b="1"/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2996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29D43AA-A04F-41D9-AA68-5C5DA52EB7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878256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29D43AA-A04F-41D9-AA68-5C5DA52EB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C468AF6-DDB8-4C89-A949-9AC32E2AD8E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D255918-D50D-4B9A-88D8-1F1F73C469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A8DE5AD-DDC4-4EA8-ADA0-F927DA835B7C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251300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5978" y="1576774"/>
            <a:ext cx="8865067" cy="307924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8923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A7A0A80-04CD-4A2B-83B0-BE94A3186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032757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A7A0A80-04CD-4A2B-83B0-BE94A3186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989"/>
            <a:ext cx="3548918" cy="518576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128" tIns="34564" rIns="69128" bIns="345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6273" y="1632235"/>
            <a:ext cx="2830425" cy="409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1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5643" indent="0" algn="ctr">
              <a:buNone/>
              <a:defRPr sz="1512"/>
            </a:lvl2pPr>
            <a:lvl3pPr marL="691286" indent="0" algn="ctr">
              <a:buNone/>
              <a:defRPr sz="1361"/>
            </a:lvl3pPr>
            <a:lvl4pPr marL="1036930" indent="0" algn="ctr">
              <a:buNone/>
              <a:defRPr sz="1210"/>
            </a:lvl4pPr>
            <a:lvl5pPr marL="1382573" indent="0" algn="ctr">
              <a:buNone/>
              <a:defRPr sz="1210"/>
            </a:lvl5pPr>
            <a:lvl6pPr marL="1728216" indent="0" algn="ctr">
              <a:buNone/>
              <a:defRPr sz="1210"/>
            </a:lvl6pPr>
            <a:lvl7pPr marL="2073859" indent="0" algn="ctr">
              <a:buNone/>
              <a:defRPr sz="1210"/>
            </a:lvl7pPr>
            <a:lvl8pPr marL="2419502" indent="0" algn="ctr">
              <a:buNone/>
              <a:defRPr sz="1210"/>
            </a:lvl8pPr>
            <a:lvl9pPr marL="2765146" indent="0" algn="ctr">
              <a:buNone/>
              <a:defRPr sz="121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6273" y="927671"/>
            <a:ext cx="2830425" cy="502599"/>
          </a:xfrm>
        </p:spPr>
        <p:txBody>
          <a:bodyPr anchor="t">
            <a:noAutofit/>
          </a:bodyPr>
          <a:lstStyle>
            <a:lvl1pPr>
              <a:defRPr sz="1814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1035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F9AA1B-9848-4A8D-B327-612570EA3F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675671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F9AA1B-9848-4A8D-B327-612570EA3F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3196D4-52F1-4757-BE59-CC7959CEFF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71252" y="2017088"/>
            <a:ext cx="7272991" cy="2420035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8191" y="1076632"/>
            <a:ext cx="719491" cy="719519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1443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CE535C-696E-45DD-B40A-F6C1206E1E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996148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CE535C-696E-45DD-B40A-F6C1206E1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A1FEA6-016F-4E2C-8363-12895B607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6273" y="2893132"/>
            <a:ext cx="8268107" cy="1543185"/>
          </a:xfrm>
        </p:spPr>
        <p:txBody>
          <a:bodyPr anchor="t">
            <a:noAutofit/>
          </a:bodyPr>
          <a:lstStyle>
            <a:lvl1pPr>
              <a:defRPr sz="4082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6274" y="2782160"/>
            <a:ext cx="8738171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6652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5E4F32-9755-45C2-8BE1-647ED800B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270967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5E4F32-9755-45C2-8BE1-647ED800B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73093" y="0"/>
            <a:ext cx="315211" cy="5184775"/>
          </a:xfrm>
          <a:prstGeom prst="rect">
            <a:avLst/>
          </a:prstGeom>
        </p:spPr>
      </p:pic>
      <p:sp>
        <p:nvSpPr>
          <p:cNvPr id="20" name="TextBox 19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84066" cy="51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6274" y="2026964"/>
            <a:ext cx="2364645" cy="11308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14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E39161-158A-461E-B2DB-22462B7E9D7C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7718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EEC767-AD81-4D6C-82A1-EE9BA46294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67711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EEC767-AD81-4D6C-82A1-EE9BA46294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8BB338-5DF7-4D9F-999A-71BA4D82E2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417124" y="0"/>
            <a:ext cx="315211" cy="518477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421924" cy="51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470849"/>
            <a:ext cx="4744991" cy="25130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A29B80D-3A67-4215-8A68-A7DD09E583E8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2138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F8840C-250E-4DC9-AD84-0613F33CC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437312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F8840C-250E-4DC9-AD84-0613F33CC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85269" cy="51847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4730076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65059" y="2576362"/>
            <a:ext cx="2037139" cy="2613217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EA0AB3B-AAEA-4D78-96D5-999412D98A5E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95503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5250B59-C656-419B-A33F-7DAECFEE1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797688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5250B59-C656-419B-A33F-7DAECFEE1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132D08A-7B7E-42E6-99A8-4DC2469AC2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826016" y="0"/>
            <a:ext cx="315211" cy="51847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829816" cy="51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6124713" cy="25130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C89C2E-87CD-4D33-8407-FAB6105C8C81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88845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D1AA52-F86C-41F5-8118-DD93020232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333889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D1AA52-F86C-41F5-8118-DD93020232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C982CB6-302B-44FB-9340-3BE71C5906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75289" y="0"/>
            <a:ext cx="315211" cy="5184775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6274" y="2026964"/>
            <a:ext cx="2364645" cy="11308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14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85015" y="-989"/>
            <a:ext cx="6132011" cy="5185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852376-ED48-4084-9E64-D2A28E6179D2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21008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8A6FA88-5760-413D-ABE7-6E0F3BF02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711183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8A6FA88-5760-413D-ABE7-6E0F3BF02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A130605-E664-41FA-8560-FDA194F411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301265" y="0"/>
            <a:ext cx="315211" cy="518477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608512" y="0"/>
            <a:ext cx="4608513" cy="518477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605505" y="0"/>
            <a:ext cx="4611519" cy="5184775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61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6273" y="1349947"/>
            <a:ext cx="3317585" cy="2484882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2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D21E222-D8B3-40C5-A653-76B331D136C5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67460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EFD65C3-C078-4F67-A39C-F3F1BEBA4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160751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EFD65C3-C078-4F67-A39C-F3F1BEBA4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E4A94F-F2CD-431C-A463-043C263BEB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01769" y="0"/>
            <a:ext cx="315211" cy="518477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911493" y="0"/>
            <a:ext cx="3305532" cy="51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911858" y="0"/>
            <a:ext cx="3305168" cy="5184775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1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6981" y="1349947"/>
            <a:ext cx="4723084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651D44-4D02-459E-9185-83434C14BA97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60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566420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09352A5-0226-422B-9A89-A16435449E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52" y="99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3B8AD2-B1D3-4650-B491-6DF468F79C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273" y="2089789"/>
            <a:ext cx="1873825" cy="993643"/>
          </a:xfrm>
        </p:spPr>
        <p:txBody>
          <a:bodyPr anchor="ctr"/>
          <a:lstStyle>
            <a:lvl1pPr>
              <a:defRPr sz="1814" b="1" cap="all" baseline="0">
                <a:latin typeface="+mn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093" y="2714408"/>
            <a:ext cx="1032115" cy="255758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81CBDF-9077-4B79-9F57-F56D5D710F4C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6055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DE5143-18FD-47E6-A609-4B0ADA11EB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73994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DE5143-18FD-47E6-A609-4B0ADA11EB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3F6B90-44A4-4AA7-BFB3-C8508CA2A7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52" y="99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6273" y="2089789"/>
            <a:ext cx="1873825" cy="99364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44007" y="2572602"/>
            <a:ext cx="2037139" cy="2617143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57F6E73-6366-4B19-8F05-C38127F9CA61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44344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A02DC9-4605-4F96-A9A5-BD727214E8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10529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A02DC9-4605-4F96-A9A5-BD727214E8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A26DDE6-634F-4007-ADC7-99589985AD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102695" cy="5184775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1349947"/>
            <a:ext cx="3071007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586" y="2566223"/>
            <a:ext cx="981709" cy="2700404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C70F2FE-5764-44EF-A38B-3D530FCADABC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65866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0D57F8-9753-4A68-86B0-1DBFBC0154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8043958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0D57F8-9753-4A68-86B0-1DBFBC0154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4102695" cy="5184775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1349947"/>
            <a:ext cx="3071007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704976" y="2582786"/>
            <a:ext cx="2037139" cy="2601989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29A02D3-470F-4229-A886-D2BCC7BD5FAE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81789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639AED-75A7-4EE7-B8BA-6FE4D57E8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01086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639AED-75A7-4EE7-B8BA-6FE4D57E8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88D273-8CC2-4A97-9F50-38CA340DCF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4810774" cy="5184775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3589304" cy="25130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0685" y="2713809"/>
            <a:ext cx="1032115" cy="255758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5D955B0-D91C-43CC-BF40-C90E247E1015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102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9CA1A7-BC84-4DD8-83CB-4C13B320F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444608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9CA1A7-BC84-4DD8-83CB-4C13B320F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365D6C-B0BB-49AD-9FE8-A053333B033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4810774" cy="5184775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3589304" cy="2513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71844" y="2576362"/>
            <a:ext cx="2037139" cy="2613217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D7CD688-272E-46C1-9986-0D27AC9FE3B0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3027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201826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3808F0-9E64-4A51-B0B9-32246F6573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79AD7E-3149-4D96-9244-47A4E8251261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788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58B098-6278-4BFE-8968-E5D32BD2CF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18132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58B098-6278-4BFE-8968-E5D32BD2CF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5EA148F-F457-4E6C-82B4-9AC93A391D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 hidden="1"/>
          <p:cNvSpPr txBox="1"/>
          <p:nvPr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2892778"/>
            <a:ext cx="8265385" cy="1214582"/>
          </a:xfrm>
        </p:spPr>
        <p:txBody>
          <a:bodyPr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AA09F6-94A2-4517-9E2C-9E20194F2F47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39766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5C8E13-95B1-46A7-9145-C226B759CB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072681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5C8E13-95B1-46A7-9145-C226B759CB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11A508-F6E4-43FC-A50D-C5B1C579CD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85269" cy="51847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4728334" cy="25130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618" y="2713809"/>
            <a:ext cx="1032115" cy="255758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67BB895-CFAE-4536-8442-27674E9A696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9165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6BAF38-18DE-44F2-9F9F-FAF08F9FC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9651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6BAF38-18DE-44F2-9F9F-FAF08F9FC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C63F800-AF78-4470-90EE-D6261D6A21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85269" cy="51847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4728334" cy="2513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Box 1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65059" y="2576362"/>
            <a:ext cx="2037139" cy="2613217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73F9953-1267-409B-AA7D-52C03FA65542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5230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E7B021-D7CF-4FD4-9D63-C70B8DF48E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681808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E7B021-D7CF-4FD4-9D63-C70B8DF48E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2C7EC4-563F-4664-818A-4762C2487A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Box 9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2892778"/>
            <a:ext cx="8265385" cy="1214582"/>
          </a:xfrm>
        </p:spPr>
        <p:txBody>
          <a:bodyPr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CAFEA6-21E3-4681-9CF8-46AD278FFDED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6502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968E95-7236-4890-8F1E-AB34F890C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633775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968E95-7236-4890-8F1E-AB34F890C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A2CBA2-D875-4F59-A8E5-5FE314A47E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6274" y="472871"/>
            <a:ext cx="705102" cy="70512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2892778"/>
            <a:ext cx="8265385" cy="121458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96644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5280796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138799" y="76838"/>
            <a:ext cx="581573" cy="757488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9217025" cy="4435814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9128" tIns="34564" rIns="69128" bIns="34564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61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764B114-B9EA-43BC-9AEA-5479FE374ACB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3158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2A1F-B051-4FBC-995E-335779E25F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971144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2A1F-B051-4FBC-995E-335779E25F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17B280C-D81B-4F7D-98EE-45CEDA729E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 hidden="1"/>
          <p:cNvSpPr txBox="1"/>
          <p:nvPr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470849"/>
            <a:ext cx="8265385" cy="2513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78CF7A-043F-4799-82CD-10B79799AD96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9519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6BBF15-F01C-4EF2-8D66-D2C35D990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28775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D6BBF15-F01C-4EF2-8D66-D2C35D990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6273" y="2091676"/>
            <a:ext cx="2346441" cy="104650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9"/>
              </a:spcAft>
              <a:buFontTx/>
              <a:buNone/>
            </a:pPr>
            <a:r>
              <a:rPr lang="en-US" sz="3326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0098" y="2711648"/>
            <a:ext cx="1032115" cy="255758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F17FD78-DAF3-4119-9D84-7A953A66E898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87225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C982CE2-BEE6-4F19-B4C9-EA4498079D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795390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C982CE2-BEE6-4F19-B4C9-EA4498079D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96E475-2CC2-41AC-9140-B211FCA28037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277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6F5690-3475-4765-86D7-FE00F7A36E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47733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6F5690-3475-4765-86D7-FE00F7A36E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19368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C9C716-50AF-4B53-830D-3E3E71F547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9049878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C9C716-50AF-4B53-830D-3E3E71F54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7532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599FAF-9DCA-489E-A763-0BFAEEE51C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18261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599FAF-9DCA-489E-A763-0BFAEEE51C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6AF7F3-6AC4-44FF-80D6-D692F7302A4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6274" y="472871"/>
            <a:ext cx="705102" cy="70512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2892778"/>
            <a:ext cx="8265385" cy="121458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743605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41604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3295EBA1-8C04-4825-949C-A8967658D90D}"/>
              </a:ext>
            </a:extLst>
          </p:cNvPr>
          <p:cNvSpPr txBox="1">
            <a:spLocks/>
          </p:cNvSpPr>
          <p:nvPr userDrawn="1"/>
        </p:nvSpPr>
        <p:spPr>
          <a:xfrm>
            <a:off x="0" y="1993555"/>
            <a:ext cx="9217025" cy="979908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024"/>
              <a:t>THANK YOU</a:t>
            </a:r>
            <a:endParaRPr lang="en-SG" sz="3024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9A55903-7829-4D60-9EC3-69D13DDED2DB}"/>
              </a:ext>
            </a:extLst>
          </p:cNvPr>
          <p:cNvGrpSpPr/>
          <p:nvPr userDrawn="1"/>
        </p:nvGrpSpPr>
        <p:grpSpPr>
          <a:xfrm>
            <a:off x="0" y="2085432"/>
            <a:ext cx="9217025" cy="3099343"/>
            <a:chOff x="0" y="2758440"/>
            <a:chExt cx="12192000" cy="409956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3E679AA-E7C6-4951-9327-95A8495D9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0" y="2758440"/>
              <a:ext cx="12192000" cy="409956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6C37BA-2960-43FE-A8B8-917FDAE04CEC}"/>
                </a:ext>
              </a:extLst>
            </p:cNvPr>
            <p:cNvSpPr/>
            <p:nvPr/>
          </p:nvSpPr>
          <p:spPr>
            <a:xfrm>
              <a:off x="172720" y="5394960"/>
              <a:ext cx="3688080" cy="129032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7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648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D9906D-4D46-411C-AB62-CADADD3D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95738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D9906D-4D46-411C-AB62-CADADD3D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0" name="Group 49">
            <a:extLst>
              <a:ext uri="{FF2B5EF4-FFF2-40B4-BE49-F238E27FC236}">
                <a16:creationId xmlns:a16="http://schemas.microsoft.com/office/drawing/2014/main" id="{6102A332-0C7A-4A6F-8045-DD9D0A25E923}"/>
              </a:ext>
            </a:extLst>
          </p:cNvPr>
          <p:cNvGrpSpPr/>
          <p:nvPr userDrawn="1"/>
        </p:nvGrpSpPr>
        <p:grpSpPr>
          <a:xfrm>
            <a:off x="-454" y="-1"/>
            <a:ext cx="9218386" cy="5184776"/>
            <a:chOff x="-600" y="-1"/>
            <a:chExt cx="12193800" cy="6858001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1982AF37-A4FC-4201-86A1-88BAA8761F90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3D65D250-CDB4-4D3F-B43F-BEC9E44C585D}"/>
                  </a:ext>
                </a:extLst>
              </p:cNvPr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CE9EB5A0-9B57-4BEC-8F91-82A1B7FBE3E0}"/>
                  </a:ext>
                </a:extLst>
              </p:cNvPr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56AF10B3-5740-4441-A32D-6F1558001014}"/>
                  </a:ext>
                </a:extLst>
              </p:cNvPr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4A86479A-0C95-4920-AE8D-85A7FBD27198}"/>
                  </a:ext>
                </a:extLst>
              </p:cNvPr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595D13B5-EA31-43CF-BD6B-87450DA721F5}"/>
                  </a:ext>
                </a:extLst>
              </p:cNvPr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A9C056B-AAB2-49A1-9ED8-CB069274B498}"/>
                  </a:ext>
                </a:extLst>
              </p:cNvPr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5F0BC8E8-44DB-4582-810E-608A149781A9}"/>
                  </a:ext>
                </a:extLst>
              </p:cNvPr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56D8CFC-D9D7-4626-9539-005375518DCA}"/>
                  </a:ext>
                </a:extLst>
              </p:cNvPr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8E55AAEE-9EF6-49AD-AF6D-7FEEB2DE94AE}"/>
                  </a:ext>
                </a:extLst>
              </p:cNvPr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50897CF1-DCC2-40DE-B3A8-C3B0AC417860}"/>
                  </a:ext>
                </a:extLst>
              </p:cNvPr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575588E-7C77-49DB-A6F0-49DF55E4A41C}"/>
                  </a:ext>
                </a:extLst>
              </p:cNvPr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68EA56AF-79B7-43A7-8ED4-7C83C66F7DC4}"/>
                  </a:ext>
                </a:extLst>
              </p:cNvPr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540195D-247A-42CC-9848-3BF6D06AC8F8}"/>
                  </a:ext>
                </a:extLst>
              </p:cNvPr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F61D9A7B-F6FF-49A1-A953-8B947397C3C6}"/>
                  </a:ext>
                </a:extLst>
              </p:cNvPr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C9539CD-A48F-4BA6-8D20-E2EF5577BC4D}"/>
                  </a:ext>
                </a:extLst>
              </p:cNvPr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E598218-4C50-450E-80D7-7488A3902182}"/>
                  </a:ext>
                </a:extLst>
              </p:cNvPr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87EB795E-4759-4C6E-99A2-DB95485DA044}"/>
                  </a:ext>
                </a:extLst>
              </p:cNvPr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57CB7D65-A97C-481E-898B-BEF6862B1574}"/>
                  </a:ext>
                </a:extLst>
              </p:cNvPr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9CF205DE-3443-4909-A522-A581AD6FD8DE}"/>
                  </a:ext>
                </a:extLst>
              </p:cNvPr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7BDC623-F526-4A1C-B957-025420B8726C}"/>
                  </a:ext>
                </a:extLst>
              </p:cNvPr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265BA3AE-6F2B-4FFA-A9D4-5B0E2CEB408E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72" name="Rectangle 5">
                <a:extLst>
                  <a:ext uri="{FF2B5EF4-FFF2-40B4-BE49-F238E27FC236}">
                    <a16:creationId xmlns:a16="http://schemas.microsoft.com/office/drawing/2014/main" id="{691C63A3-7EC2-40D1-BCD7-CC3EF57674D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7">
                <a:extLst>
                  <a:ext uri="{FF2B5EF4-FFF2-40B4-BE49-F238E27FC236}">
                    <a16:creationId xmlns:a16="http://schemas.microsoft.com/office/drawing/2014/main" id="{46B4BF63-81B4-42F6-BFAF-112B2DF5D59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9">
                <a:extLst>
                  <a:ext uri="{FF2B5EF4-FFF2-40B4-BE49-F238E27FC236}">
                    <a16:creationId xmlns:a16="http://schemas.microsoft.com/office/drawing/2014/main" id="{E17D7CBE-2D91-4C7A-9F8F-6B8CE78ACBA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11">
                <a:extLst>
                  <a:ext uri="{FF2B5EF4-FFF2-40B4-BE49-F238E27FC236}">
                    <a16:creationId xmlns:a16="http://schemas.microsoft.com/office/drawing/2014/main" id="{771C7C2F-1BE3-42E4-B892-B1A7664F69F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13">
                <a:extLst>
                  <a:ext uri="{FF2B5EF4-FFF2-40B4-BE49-F238E27FC236}">
                    <a16:creationId xmlns:a16="http://schemas.microsoft.com/office/drawing/2014/main" id="{832DE4DC-DE45-486F-816C-88D190C7925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0A49C9B0-92C3-4EFB-9B7C-E2F4BF953CAE}"/>
                </a:ext>
              </a:extLst>
            </p:cNvPr>
            <p:cNvGrpSpPr/>
            <p:nvPr userDrawn="1"/>
          </p:nvGrpSpPr>
          <p:grpSpPr>
            <a:xfrm>
              <a:off x="-600" y="-1"/>
              <a:ext cx="12193800" cy="6858001"/>
              <a:chOff x="-600" y="-1"/>
              <a:chExt cx="12193800" cy="6858001"/>
            </a:xfrm>
          </p:grpSpPr>
          <p:sp>
            <p:nvSpPr>
              <p:cNvPr id="54" name="No fly zone">
                <a:extLst>
                  <a:ext uri="{FF2B5EF4-FFF2-40B4-BE49-F238E27FC236}">
                    <a16:creationId xmlns:a16="http://schemas.microsoft.com/office/drawing/2014/main" id="{F122CC3A-B13E-4E5C-B241-8A46C3796D51}"/>
                  </a:ext>
                </a:extLst>
              </p:cNvPr>
              <p:cNvSpPr/>
              <p:nvPr/>
            </p:nvSpPr>
            <p:spPr>
              <a:xfrm>
                <a:off x="0" y="-1"/>
                <a:ext cx="12193200" cy="6858000"/>
              </a:xfrm>
              <a:custGeom>
                <a:avLst/>
                <a:gdLst>
                  <a:gd name="connsiteX0" fmla="*/ 630001 w 12193200"/>
                  <a:gd name="connsiteY0" fmla="*/ 62280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0 w 12193200"/>
                  <a:gd name="connsiteY4" fmla="*/ 0 h 6858000"/>
                  <a:gd name="connsiteX5" fmla="*/ 12193200 w 12193200"/>
                  <a:gd name="connsiteY5" fmla="*/ 0 h 6858000"/>
                  <a:gd name="connsiteX6" fmla="*/ 12193200 w 12193200"/>
                  <a:gd name="connsiteY6" fmla="*/ 622800 h 6858000"/>
                  <a:gd name="connsiteX7" fmla="*/ 12192000 w 12193200"/>
                  <a:gd name="connsiteY7" fmla="*/ 622800 h 6858000"/>
                  <a:gd name="connsiteX8" fmla="*/ 12192000 w 12193200"/>
                  <a:gd name="connsiteY8" fmla="*/ 6160597 h 6858000"/>
                  <a:gd name="connsiteX9" fmla="*/ 12193200 w 12193200"/>
                  <a:gd name="connsiteY9" fmla="*/ 6160597 h 6858000"/>
                  <a:gd name="connsiteX10" fmla="*/ 12193200 w 12193200"/>
                  <a:gd name="connsiteY10" fmla="*/ 6858000 h 6858000"/>
                  <a:gd name="connsiteX11" fmla="*/ 12192000 w 12193200"/>
                  <a:gd name="connsiteY11" fmla="*/ 6858000 h 6858000"/>
                  <a:gd name="connsiteX12" fmla="*/ 11562000 w 12193200"/>
                  <a:gd name="connsiteY12" fmla="*/ 6858000 h 6858000"/>
                  <a:gd name="connsiteX13" fmla="*/ 630001 w 12193200"/>
                  <a:gd name="connsiteY13" fmla="*/ 6858000 h 6858000"/>
                  <a:gd name="connsiteX14" fmla="*/ 1 w 12193200"/>
                  <a:gd name="connsiteY14" fmla="*/ 6858000 h 6858000"/>
                  <a:gd name="connsiteX15" fmla="*/ 1 w 12193200"/>
                  <a:gd name="connsiteY15" fmla="*/ 6160597 h 6858000"/>
                  <a:gd name="connsiteX16" fmla="*/ 1 w 12193200"/>
                  <a:gd name="connsiteY16" fmla="*/ 622800 h 6858000"/>
                  <a:gd name="connsiteX17" fmla="*/ 0 w 12193200"/>
                  <a:gd name="connsiteY17" fmla="*/ 622800 h 6858000"/>
                  <a:gd name="connsiteX0" fmla="*/ 306151 w 12193200"/>
                  <a:gd name="connsiteY0" fmla="*/ 6037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306151 w 12193200"/>
                  <a:gd name="connsiteY4" fmla="*/ 6037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306151 w 12193200"/>
                  <a:gd name="connsiteY0" fmla="*/ 6037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306151 w 12193200"/>
                  <a:gd name="connsiteY4" fmla="*/ 6037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42651 w 12193200"/>
                  <a:gd name="connsiteY0" fmla="*/ 61010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42651 w 12193200"/>
                  <a:gd name="connsiteY4" fmla="*/ 61010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29951 w 12193200"/>
                  <a:gd name="connsiteY1" fmla="*/ 616694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959933 w 12193200"/>
                  <a:gd name="connsiteY2" fmla="*/ 6169064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959933 w 12193200"/>
                  <a:gd name="connsiteY2" fmla="*/ 6169064 h 6858000"/>
                  <a:gd name="connsiteX3" fmla="*/ 11955700 w 12193200"/>
                  <a:gd name="connsiteY3" fmla="*/ 631267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193200" h="6858000">
                    <a:moveTo>
                      <a:pt x="236301" y="616450"/>
                    </a:moveTo>
                    <a:cubicBezTo>
                      <a:pt x="234184" y="2466616"/>
                      <a:pt x="244768" y="4310431"/>
                      <a:pt x="242651" y="6160597"/>
                    </a:cubicBezTo>
                    <a:lnTo>
                      <a:pt x="11959933" y="6169064"/>
                    </a:lnTo>
                    <a:lnTo>
                      <a:pt x="11955700" y="631267"/>
                    </a:lnTo>
                    <a:lnTo>
                      <a:pt x="236301" y="616450"/>
                    </a:lnTo>
                    <a:close/>
                    <a:moveTo>
                      <a:pt x="0" y="0"/>
                    </a:moveTo>
                    <a:lnTo>
                      <a:pt x="12193200" y="0"/>
                    </a:lnTo>
                    <a:lnTo>
                      <a:pt x="12193200" y="622800"/>
                    </a:lnTo>
                    <a:lnTo>
                      <a:pt x="12192000" y="622800"/>
                    </a:lnTo>
                    <a:lnTo>
                      <a:pt x="12192000" y="6160597"/>
                    </a:lnTo>
                    <a:lnTo>
                      <a:pt x="12193200" y="6160597"/>
                    </a:lnTo>
                    <a:lnTo>
                      <a:pt x="12193200" y="6858000"/>
                    </a:lnTo>
                    <a:lnTo>
                      <a:pt x="12192000" y="6858000"/>
                    </a:lnTo>
                    <a:lnTo>
                      <a:pt x="11562000" y="6858000"/>
                    </a:lnTo>
                    <a:lnTo>
                      <a:pt x="630001" y="6858000"/>
                    </a:lnTo>
                    <a:lnTo>
                      <a:pt x="1" y="6858000"/>
                    </a:lnTo>
                    <a:lnTo>
                      <a:pt x="1" y="6160597"/>
                    </a:lnTo>
                    <a:lnTo>
                      <a:pt x="1" y="622800"/>
                    </a:lnTo>
                    <a:lnTo>
                      <a:pt x="0" y="6228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FEF">
                  <a:alpha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3ACE454F-CF71-414E-8FE4-F60ED1C7EFE3}"/>
                  </a:ext>
                </a:extLst>
              </p:cNvPr>
              <p:cNvGrpSpPr/>
              <p:nvPr userDrawn="1"/>
            </p:nvGrpSpPr>
            <p:grpSpPr>
              <a:xfrm>
                <a:off x="887176" y="623550"/>
                <a:ext cx="10417647" cy="5537047"/>
                <a:chOff x="887176" y="623550"/>
                <a:chExt cx="10417647" cy="5537047"/>
              </a:xfrm>
            </p:grpSpPr>
            <p:sp>
              <p:nvSpPr>
                <p:cNvPr id="61" name="Rectangle 34">
                  <a:extLst>
                    <a:ext uri="{FF2B5EF4-FFF2-40B4-BE49-F238E27FC236}">
                      <a16:creationId xmlns:a16="http://schemas.microsoft.com/office/drawing/2014/main" id="{00BB0AB4-497F-4D67-BF10-06B92CE83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6496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2" name="Rectangle 35">
                  <a:extLst>
                    <a:ext uri="{FF2B5EF4-FFF2-40B4-BE49-F238E27FC236}">
                      <a16:creationId xmlns:a16="http://schemas.microsoft.com/office/drawing/2014/main" id="{6F4BDA44-A9D6-479A-BF03-FCF7ED4A6A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99089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3" name="Rectangle 36">
                  <a:extLst>
                    <a:ext uri="{FF2B5EF4-FFF2-40B4-BE49-F238E27FC236}">
                      <a16:creationId xmlns:a16="http://schemas.microsoft.com/office/drawing/2014/main" id="{061B7CBF-0695-4857-A3D6-79C805489A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7793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4" name="Rectangle 37">
                  <a:extLst>
                    <a:ext uri="{FF2B5EF4-FFF2-40B4-BE49-F238E27FC236}">
                      <a16:creationId xmlns:a16="http://schemas.microsoft.com/office/drawing/2014/main" id="{560A30C6-9B7A-4089-ABC9-E668C7C8A6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00386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5" name="Rectangle 38">
                  <a:extLst>
                    <a:ext uri="{FF2B5EF4-FFF2-40B4-BE49-F238E27FC236}">
                      <a16:creationId xmlns:a16="http://schemas.microsoft.com/office/drawing/2014/main" id="{7B8857EC-83EF-4B93-A2FF-110FD853DF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16823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6" name="Rectangle 39">
                  <a:extLst>
                    <a:ext uri="{FF2B5EF4-FFF2-40B4-BE49-F238E27FC236}">
                      <a16:creationId xmlns:a16="http://schemas.microsoft.com/office/drawing/2014/main" id="{FCDA0ECC-B284-4FBD-8047-F4B2685A20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5200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7" name="Rectangle 40">
                  <a:extLst>
                    <a:ext uri="{FF2B5EF4-FFF2-40B4-BE49-F238E27FC236}">
                      <a16:creationId xmlns:a16="http://schemas.microsoft.com/office/drawing/2014/main" id="{1E972C28-90AF-4A55-9207-FA1278DE45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8717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8" name="Rectangle 41">
                  <a:extLst>
                    <a:ext uri="{FF2B5EF4-FFF2-40B4-BE49-F238E27FC236}">
                      <a16:creationId xmlns:a16="http://schemas.microsoft.com/office/drawing/2014/main" id="{1BA90298-5BD2-44F5-9D46-689F443A294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90014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9" name="Rectangle 42">
                  <a:extLst>
                    <a:ext uri="{FF2B5EF4-FFF2-40B4-BE49-F238E27FC236}">
                      <a16:creationId xmlns:a16="http://schemas.microsoft.com/office/drawing/2014/main" id="{8379E315-3FC0-4B04-B850-1072635F94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1310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0" name="Rectangle 43">
                  <a:extLst>
                    <a:ext uri="{FF2B5EF4-FFF2-40B4-BE49-F238E27FC236}">
                      <a16:creationId xmlns:a16="http://schemas.microsoft.com/office/drawing/2014/main" id="{406EC447-BAC1-4F8C-90F4-EAFF2D4FFC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2607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1" name="Rectangle 44">
                  <a:extLst>
                    <a:ext uri="{FF2B5EF4-FFF2-40B4-BE49-F238E27FC236}">
                      <a16:creationId xmlns:a16="http://schemas.microsoft.com/office/drawing/2014/main" id="{149EB6D4-D970-491A-B65D-E647C25039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3903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</p:grpSp>
          <p:sp>
            <p:nvSpPr>
              <p:cNvPr id="56" name="Slide edges">
                <a:extLst>
                  <a:ext uri="{FF2B5EF4-FFF2-40B4-BE49-F238E27FC236}">
                    <a16:creationId xmlns:a16="http://schemas.microsoft.com/office/drawing/2014/main" id="{FB567DE6-8D47-43D3-A76C-D40762E2BD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91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61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7" name="Footnote measure">
                <a:extLst>
                  <a:ext uri="{FF2B5EF4-FFF2-40B4-BE49-F238E27FC236}">
                    <a16:creationId xmlns:a16="http://schemas.microsoft.com/office/drawing/2014/main" id="{4355A932-52C2-4E71-87DD-1288EDE1140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32778" y="6159600"/>
                <a:ext cx="11726443" cy="378584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8" name="Whitespace measure">
                <a:extLst>
                  <a:ext uri="{FF2B5EF4-FFF2-40B4-BE49-F238E27FC236}">
                    <a16:creationId xmlns:a16="http://schemas.microsoft.com/office/drawing/2014/main" id="{F518C206-0D43-445E-9268-C58DE554547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32778" y="1497600"/>
                <a:ext cx="11726443" cy="58320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9" name="Live area">
                <a:extLst>
                  <a:ext uri="{FF2B5EF4-FFF2-40B4-BE49-F238E27FC236}">
                    <a16:creationId xmlns:a16="http://schemas.microsoft.com/office/drawing/2014/main" id="{E2EA580D-FE70-4DC6-A87A-5B9CA6418BEB}"/>
                  </a:ext>
                </a:extLst>
              </p:cNvPr>
              <p:cNvSpPr/>
              <p:nvPr userDrawn="1"/>
            </p:nvSpPr>
            <p:spPr>
              <a:xfrm>
                <a:off x="232778" y="2080801"/>
                <a:ext cx="11726443" cy="4078800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71C57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756"/>
                  </a:spcAft>
                </a:pPr>
                <a:endParaRPr lang="en-US" sz="907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0" name="Footnote example">
                <a:extLst>
                  <a:ext uri="{FF2B5EF4-FFF2-40B4-BE49-F238E27FC236}">
                    <a16:creationId xmlns:a16="http://schemas.microsoft.com/office/drawing/2014/main" id="{CB68A8E3-A33F-4C92-8130-B302D98F3EDF}"/>
                  </a:ext>
                </a:extLst>
              </p:cNvPr>
              <p:cNvSpPr txBox="1"/>
              <p:nvPr userDrawn="1"/>
            </p:nvSpPr>
            <p:spPr>
              <a:xfrm>
                <a:off x="232778" y="6144441"/>
                <a:ext cx="9030914" cy="415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1. xxxx  2. xxxx  3. List footnotes in numerical order. Footnote numbers are not bracketed. Use 10pt font</a:t>
                </a:r>
              </a:p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Note: Do not put a period at the end of the note or the source</a:t>
                </a:r>
              </a:p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Source: Include a source for every chart that you use. Separate sources with a semicolon; BCG-related sources go at the end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1901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2279793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9424" y="3546624"/>
            <a:ext cx="702569" cy="75289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12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1897142" y="3546624"/>
            <a:ext cx="1187019" cy="1109968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8255" tIns="136078" rIns="138255" bIns="1382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7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6273" y="685859"/>
            <a:ext cx="2607257" cy="92260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62666" tIns="35380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4"/>
              </a:spcAft>
            </a:pPr>
            <a:endParaRPr lang="en-US" sz="4082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552371" y="843275"/>
            <a:ext cx="2454519" cy="6890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82" b="1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2267A45-E14C-44EA-9791-97DDE4BA205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51412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9637993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71252" y="1079693"/>
            <a:ext cx="716430" cy="71645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71598" y="2016755"/>
            <a:ext cx="7272015" cy="241956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12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EB6172B-FFF5-41BF-9408-65702617DEB1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04201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072815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76273" y="470849"/>
            <a:ext cx="5435564" cy="3559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70" b="1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7881" y="911758"/>
            <a:ext cx="8751565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EF2859E-12BE-432E-ABDC-7F4F5637537D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8798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104522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75289" y="0"/>
            <a:ext cx="315211" cy="51847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85015" y="-989"/>
            <a:ext cx="6132011" cy="51857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6273" y="2425092"/>
            <a:ext cx="1367132" cy="3350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4"/>
              </a:spcAft>
            </a:pPr>
            <a:r>
              <a:rPr lang="en-US" sz="2419" b="1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B75D4A-83EB-4153-961B-C2219CFB246A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85571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5479360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049424" y="3546624"/>
            <a:ext cx="702569" cy="752899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12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1897142" y="3546624"/>
            <a:ext cx="1187019" cy="1109968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8255" tIns="136078" rIns="138255" bIns="1382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7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6273" y="685858"/>
            <a:ext cx="2607257" cy="92260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62666" tIns="35380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4"/>
              </a:spcAft>
            </a:pPr>
            <a:endParaRPr lang="en-US" sz="4082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677404" y="843276"/>
            <a:ext cx="2204451" cy="6229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3629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0331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493436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971252" y="1079693"/>
            <a:ext cx="716430" cy="716458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71598" y="2016755"/>
            <a:ext cx="7272015" cy="241956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12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935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864004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476273" y="470849"/>
            <a:ext cx="5435564" cy="3559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70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7881" y="911758"/>
            <a:ext cx="8751565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0232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2493090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75289" y="0"/>
            <a:ext cx="315211" cy="5184775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85015" y="-989"/>
            <a:ext cx="6132011" cy="5185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6274" y="2466242"/>
            <a:ext cx="1043096" cy="2512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4"/>
              </a:spcAft>
            </a:pPr>
            <a:r>
              <a:rPr lang="en-US" sz="1814" b="1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C5ACCB-C472-41C8-A9EC-37EC482945CF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5334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7667754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138799" y="76838"/>
            <a:ext cx="581573" cy="757488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9217025" cy="4435814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9128" tIns="34564" rIns="69128" bIns="34564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61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2A4D04-26F6-4956-B437-28E2C3B96EDB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0765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813383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6272" y="2091676"/>
            <a:ext cx="2368044" cy="104650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9"/>
              </a:spcAft>
              <a:buFontTx/>
              <a:buNone/>
            </a:pPr>
            <a:r>
              <a:rPr lang="en-US" sz="3326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0098" y="2711648"/>
            <a:ext cx="1032115" cy="255758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73FF010-FE9D-460E-8F10-1DC22430AD5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74752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92631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7" progId="TCLayout.ActiveDocument.1">
                  <p:embed/>
                </p:oleObj>
              </mc:Choice>
              <mc:Fallback>
                <p:oleObj name="think-cell Slide" r:id="rId5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3808F0-9E64-4A51-B0B9-32246F6573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79AD7E-3149-4D96-9244-47A4E8251261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BC1BE53-8605-45FA-9B96-1F453A512F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11424" b="5044"/>
          <a:stretch/>
        </p:blipFill>
        <p:spPr>
          <a:xfrm>
            <a:off x="167059" y="973585"/>
            <a:ext cx="8882908" cy="4032603"/>
          </a:xfrm>
          <a:prstGeom prst="rect">
            <a:avLst/>
          </a:prstGeom>
        </p:spPr>
      </p:pic>
      <p:sp>
        <p:nvSpPr>
          <p:cNvPr id="10" name="GradientOverlay">
            <a:extLst>
              <a:ext uri="{FF2B5EF4-FFF2-40B4-BE49-F238E27FC236}">
                <a16:creationId xmlns:a16="http://schemas.microsoft.com/office/drawing/2014/main" id="{31729085-BA82-4730-92E8-8F5CE892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67059" y="973585"/>
            <a:ext cx="8882908" cy="4032603"/>
          </a:xfrm>
          <a:prstGeom prst="rect">
            <a:avLst/>
          </a:prstGeom>
          <a:solidFill>
            <a:srgbClr val="000000">
              <a:alpha val="55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912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6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2467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44599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9102104-46F6-4D52-9C0C-A540D9A7D5B5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6756" y="176776"/>
            <a:ext cx="8883514" cy="483122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FF2F7F-276D-4C2B-A9A8-E830EAFF94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287" y="3257120"/>
            <a:ext cx="8260451" cy="565424"/>
          </a:xfrm>
        </p:spPr>
        <p:txBody>
          <a:bodyPr/>
          <a:lstStyle>
            <a:lvl1pPr>
              <a:defRPr sz="4082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672591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244266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7" progId="TCLayout.ActiveDocument.1">
                  <p:embed/>
                </p:oleObj>
              </mc:Choice>
              <mc:Fallback>
                <p:oleObj name="think-cell Slide" r:id="rId5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657B336-E859-4457-90A4-A53C6D2C460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217025" cy="5184775"/>
          </a:xfrm>
          <a:prstGeom prst="rect">
            <a:avLst/>
          </a:prstGeom>
        </p:spPr>
      </p:pic>
      <p:sp>
        <p:nvSpPr>
          <p:cNvPr id="16" name="GradientOverlay">
            <a:extLst>
              <a:ext uri="{FF2B5EF4-FFF2-40B4-BE49-F238E27FC236}">
                <a16:creationId xmlns:a16="http://schemas.microsoft.com/office/drawing/2014/main" id="{591B6E36-2415-44D2-8FB7-769F0ADCFB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365" y="0"/>
            <a:ext cx="9214295" cy="5184775"/>
          </a:xfrm>
          <a:prstGeom prst="rect">
            <a:avLst/>
          </a:prstGeom>
          <a:solidFill>
            <a:srgbClr val="000000">
              <a:alpha val="45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912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6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26B2E26-C65A-428A-998D-D68D61105F5B}"/>
              </a:ext>
            </a:extLst>
          </p:cNvPr>
          <p:cNvGrpSpPr/>
          <p:nvPr userDrawn="1"/>
        </p:nvGrpSpPr>
        <p:grpSpPr>
          <a:xfrm>
            <a:off x="0" y="0"/>
            <a:ext cx="9217025" cy="5184775"/>
            <a:chOff x="0" y="0"/>
            <a:chExt cx="12192000" cy="6858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AE30E9B-597C-45BB-BA2A-0D3BCD7F0FB9}"/>
                </a:ext>
              </a:extLst>
            </p:cNvPr>
            <p:cNvSpPr/>
            <p:nvPr/>
          </p:nvSpPr>
          <p:spPr>
            <a:xfrm>
              <a:off x="0" y="0"/>
              <a:ext cx="220578" cy="6858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5F8A2-1395-4B36-859A-024FD0665171}"/>
                </a:ext>
              </a:extLst>
            </p:cNvPr>
            <p:cNvSpPr/>
            <p:nvPr/>
          </p:nvSpPr>
          <p:spPr>
            <a:xfrm>
              <a:off x="11971421" y="0"/>
              <a:ext cx="220578" cy="6858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7454C65-F391-425D-AAF2-45D6B3171010}"/>
                </a:ext>
              </a:extLst>
            </p:cNvPr>
            <p:cNvSpPr/>
            <p:nvPr/>
          </p:nvSpPr>
          <p:spPr>
            <a:xfrm rot="16200000">
              <a:off x="5979088" y="-5979088"/>
              <a:ext cx="233824" cy="12192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53B6286-408D-4DA5-BE46-898AD2942963}"/>
                </a:ext>
              </a:extLst>
            </p:cNvPr>
            <p:cNvSpPr/>
            <p:nvPr/>
          </p:nvSpPr>
          <p:spPr>
            <a:xfrm rot="16200000">
              <a:off x="5979088" y="645088"/>
              <a:ext cx="233824" cy="12192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FF2F7F-276D-4C2B-A9A8-E830EAFF94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287" y="3681777"/>
            <a:ext cx="8260451" cy="1130848"/>
          </a:xfrm>
        </p:spPr>
        <p:txBody>
          <a:bodyPr/>
          <a:lstStyle>
            <a:lvl1pPr algn="r">
              <a:defRPr sz="4082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965961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03416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B9E74FE-D29C-4657-8F92-4CD73A0E992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217025" cy="5184775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8FF7F780-DCF4-48D5-9372-0D0CA6ECED94}"/>
              </a:ext>
            </a:extLst>
          </p:cNvPr>
          <p:cNvGrpSpPr/>
          <p:nvPr userDrawn="1"/>
        </p:nvGrpSpPr>
        <p:grpSpPr>
          <a:xfrm>
            <a:off x="0" y="0"/>
            <a:ext cx="9217025" cy="5184775"/>
            <a:chOff x="0" y="0"/>
            <a:chExt cx="12192000" cy="685800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51009AB-2B25-44CC-ACEA-3780E2849F57}"/>
                </a:ext>
              </a:extLst>
            </p:cNvPr>
            <p:cNvSpPr/>
            <p:nvPr/>
          </p:nvSpPr>
          <p:spPr>
            <a:xfrm>
              <a:off x="0" y="0"/>
              <a:ext cx="220578" cy="6858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C53D5C0-7715-41E3-84C6-2228CC20CE75}"/>
                </a:ext>
              </a:extLst>
            </p:cNvPr>
            <p:cNvSpPr/>
            <p:nvPr/>
          </p:nvSpPr>
          <p:spPr>
            <a:xfrm>
              <a:off x="11971421" y="0"/>
              <a:ext cx="220578" cy="6858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322B5E2-9CCD-49AE-8A79-2F3B7AF847EE}"/>
                </a:ext>
              </a:extLst>
            </p:cNvPr>
            <p:cNvSpPr/>
            <p:nvPr/>
          </p:nvSpPr>
          <p:spPr>
            <a:xfrm rot="16200000">
              <a:off x="5979088" y="-5979088"/>
              <a:ext cx="233824" cy="12192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C34B11E-67AE-4AF6-B866-4525073A2E28}"/>
                </a:ext>
              </a:extLst>
            </p:cNvPr>
            <p:cNvSpPr/>
            <p:nvPr/>
          </p:nvSpPr>
          <p:spPr>
            <a:xfrm rot="16200000">
              <a:off x="5979088" y="645088"/>
              <a:ext cx="233824" cy="12192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FF2F7F-276D-4C2B-A9A8-E830EAFF94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8021" y="2152614"/>
            <a:ext cx="3527761" cy="879548"/>
          </a:xfrm>
        </p:spPr>
        <p:txBody>
          <a:bodyPr/>
          <a:lstStyle>
            <a:lvl1pPr algn="l">
              <a:defRPr sz="21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34179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ABFB1DD-CE29-45EF-AE06-CA88630D8D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2929592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ABFB1DD-CE29-45EF-AE06-CA88630D8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298FF70-C3F4-484B-8F54-6600FD24EA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6274" y="470848"/>
            <a:ext cx="8265385" cy="356008"/>
          </a:xfrm>
        </p:spPr>
        <p:txBody>
          <a:bodyPr/>
          <a:lstStyle>
            <a:lvl1pPr>
              <a:defRPr sz="257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196A989-A599-49E8-AF61-AA5C244BC59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9699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AD159A-9AA8-4170-80C6-4BC81B0D51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39744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AD159A-9AA8-4170-80C6-4BC81B0D51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3967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960183-1C93-430B-AD2E-E959FA4A5E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98890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960183-1C93-430B-AD2E-E959FA4A5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8C26A1-8561-4C93-A7BA-944D074B5580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2926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1481B1-0F69-46D4-8CD6-26EAD8059D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59226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1481B1-0F69-46D4-8CD6-26EAD8059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4235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3883521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78A614D2-67CD-43BD-94BD-46E15BE70201}"/>
              </a:ext>
            </a:extLst>
          </p:cNvPr>
          <p:cNvSpPr txBox="1">
            <a:spLocks/>
          </p:cNvSpPr>
          <p:nvPr userDrawn="1"/>
        </p:nvSpPr>
        <p:spPr>
          <a:xfrm>
            <a:off x="0" y="1993555"/>
            <a:ext cx="9217025" cy="979908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024"/>
              <a:t>THANK YOU</a:t>
            </a:r>
            <a:endParaRPr lang="en-SG" sz="3024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25A700D-5D0F-4D42-AAAC-39CC04DD0080}"/>
              </a:ext>
            </a:extLst>
          </p:cNvPr>
          <p:cNvGrpSpPr/>
          <p:nvPr userDrawn="1"/>
        </p:nvGrpSpPr>
        <p:grpSpPr>
          <a:xfrm>
            <a:off x="0" y="2085432"/>
            <a:ext cx="9217025" cy="3099343"/>
            <a:chOff x="0" y="2758440"/>
            <a:chExt cx="12192000" cy="409956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A332B39-159A-4F4D-B903-292E5A40B5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0" y="2758440"/>
              <a:ext cx="12192000" cy="4099560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32C7C4F-8984-40EF-A38A-F9C0A3166FA6}"/>
                </a:ext>
              </a:extLst>
            </p:cNvPr>
            <p:cNvSpPr/>
            <p:nvPr/>
          </p:nvSpPr>
          <p:spPr>
            <a:xfrm>
              <a:off x="172720" y="5394960"/>
              <a:ext cx="3688080" cy="129032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7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986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F6E062-4EAA-4279-90F5-9651781D1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6221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F6E062-4EAA-4279-90F5-9651781D1A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EDC90085-BE9D-4B57-AF55-486CFB2FE41D}"/>
              </a:ext>
            </a:extLst>
          </p:cNvPr>
          <p:cNvGrpSpPr/>
          <p:nvPr userDrawn="1"/>
        </p:nvGrpSpPr>
        <p:grpSpPr>
          <a:xfrm>
            <a:off x="-454" y="-1"/>
            <a:ext cx="9218386" cy="5184776"/>
            <a:chOff x="-600" y="-1"/>
            <a:chExt cx="12193800" cy="685800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C617232-9F05-4EB3-8D1F-C4D80DD22BE8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F3505CD-42D1-4A8C-ACD1-E74489AC6449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2A6F0F7-2EF3-48C4-8EE0-BC1883413E0C}"/>
                </a:ext>
              </a:extLst>
            </p:cNvPr>
            <p:cNvGrpSpPr/>
            <p:nvPr userDrawn="1"/>
          </p:nvGrpSpPr>
          <p:grpSpPr>
            <a:xfrm>
              <a:off x="-600" y="-1"/>
              <a:ext cx="12193800" cy="6858001"/>
              <a:chOff x="-600" y="-1"/>
              <a:chExt cx="12193800" cy="6858001"/>
            </a:xfrm>
          </p:grpSpPr>
          <p:sp>
            <p:nvSpPr>
              <p:cNvPr id="50" name="No fly zone"/>
              <p:cNvSpPr/>
              <p:nvPr/>
            </p:nvSpPr>
            <p:spPr>
              <a:xfrm>
                <a:off x="0" y="-1"/>
                <a:ext cx="12193200" cy="6858000"/>
              </a:xfrm>
              <a:custGeom>
                <a:avLst/>
                <a:gdLst>
                  <a:gd name="connsiteX0" fmla="*/ 630001 w 12193200"/>
                  <a:gd name="connsiteY0" fmla="*/ 62280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0 w 12193200"/>
                  <a:gd name="connsiteY4" fmla="*/ 0 h 6858000"/>
                  <a:gd name="connsiteX5" fmla="*/ 12193200 w 12193200"/>
                  <a:gd name="connsiteY5" fmla="*/ 0 h 6858000"/>
                  <a:gd name="connsiteX6" fmla="*/ 12193200 w 12193200"/>
                  <a:gd name="connsiteY6" fmla="*/ 622800 h 6858000"/>
                  <a:gd name="connsiteX7" fmla="*/ 12192000 w 12193200"/>
                  <a:gd name="connsiteY7" fmla="*/ 622800 h 6858000"/>
                  <a:gd name="connsiteX8" fmla="*/ 12192000 w 12193200"/>
                  <a:gd name="connsiteY8" fmla="*/ 6160597 h 6858000"/>
                  <a:gd name="connsiteX9" fmla="*/ 12193200 w 12193200"/>
                  <a:gd name="connsiteY9" fmla="*/ 6160597 h 6858000"/>
                  <a:gd name="connsiteX10" fmla="*/ 12193200 w 12193200"/>
                  <a:gd name="connsiteY10" fmla="*/ 6858000 h 6858000"/>
                  <a:gd name="connsiteX11" fmla="*/ 12192000 w 12193200"/>
                  <a:gd name="connsiteY11" fmla="*/ 6858000 h 6858000"/>
                  <a:gd name="connsiteX12" fmla="*/ 11562000 w 12193200"/>
                  <a:gd name="connsiteY12" fmla="*/ 6858000 h 6858000"/>
                  <a:gd name="connsiteX13" fmla="*/ 630001 w 12193200"/>
                  <a:gd name="connsiteY13" fmla="*/ 6858000 h 6858000"/>
                  <a:gd name="connsiteX14" fmla="*/ 1 w 12193200"/>
                  <a:gd name="connsiteY14" fmla="*/ 6858000 h 6858000"/>
                  <a:gd name="connsiteX15" fmla="*/ 1 w 12193200"/>
                  <a:gd name="connsiteY15" fmla="*/ 6160597 h 6858000"/>
                  <a:gd name="connsiteX16" fmla="*/ 1 w 12193200"/>
                  <a:gd name="connsiteY16" fmla="*/ 622800 h 6858000"/>
                  <a:gd name="connsiteX17" fmla="*/ 0 w 12193200"/>
                  <a:gd name="connsiteY17" fmla="*/ 622800 h 6858000"/>
                  <a:gd name="connsiteX0" fmla="*/ 306151 w 12193200"/>
                  <a:gd name="connsiteY0" fmla="*/ 6037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306151 w 12193200"/>
                  <a:gd name="connsiteY4" fmla="*/ 6037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306151 w 12193200"/>
                  <a:gd name="connsiteY0" fmla="*/ 6037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306151 w 12193200"/>
                  <a:gd name="connsiteY4" fmla="*/ 6037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42651 w 12193200"/>
                  <a:gd name="connsiteY0" fmla="*/ 61010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42651 w 12193200"/>
                  <a:gd name="connsiteY4" fmla="*/ 61010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29951 w 12193200"/>
                  <a:gd name="connsiteY1" fmla="*/ 616694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959933 w 12193200"/>
                  <a:gd name="connsiteY2" fmla="*/ 6169064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959933 w 12193200"/>
                  <a:gd name="connsiteY2" fmla="*/ 6169064 h 6858000"/>
                  <a:gd name="connsiteX3" fmla="*/ 11955700 w 12193200"/>
                  <a:gd name="connsiteY3" fmla="*/ 631267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193200" h="6858000">
                    <a:moveTo>
                      <a:pt x="236301" y="616450"/>
                    </a:moveTo>
                    <a:cubicBezTo>
                      <a:pt x="234184" y="2466616"/>
                      <a:pt x="244768" y="4310431"/>
                      <a:pt x="242651" y="6160597"/>
                    </a:cubicBezTo>
                    <a:lnTo>
                      <a:pt x="11959933" y="6169064"/>
                    </a:lnTo>
                    <a:lnTo>
                      <a:pt x="11955700" y="631267"/>
                    </a:lnTo>
                    <a:lnTo>
                      <a:pt x="236301" y="616450"/>
                    </a:lnTo>
                    <a:close/>
                    <a:moveTo>
                      <a:pt x="0" y="0"/>
                    </a:moveTo>
                    <a:lnTo>
                      <a:pt x="12193200" y="0"/>
                    </a:lnTo>
                    <a:lnTo>
                      <a:pt x="12193200" y="622800"/>
                    </a:lnTo>
                    <a:lnTo>
                      <a:pt x="12192000" y="622800"/>
                    </a:lnTo>
                    <a:lnTo>
                      <a:pt x="12192000" y="6160597"/>
                    </a:lnTo>
                    <a:lnTo>
                      <a:pt x="12193200" y="6160597"/>
                    </a:lnTo>
                    <a:lnTo>
                      <a:pt x="12193200" y="6858000"/>
                    </a:lnTo>
                    <a:lnTo>
                      <a:pt x="12192000" y="6858000"/>
                    </a:lnTo>
                    <a:lnTo>
                      <a:pt x="11562000" y="6858000"/>
                    </a:lnTo>
                    <a:lnTo>
                      <a:pt x="630001" y="6858000"/>
                    </a:lnTo>
                    <a:lnTo>
                      <a:pt x="1" y="6858000"/>
                    </a:lnTo>
                    <a:lnTo>
                      <a:pt x="1" y="6160597"/>
                    </a:lnTo>
                    <a:lnTo>
                      <a:pt x="1" y="622800"/>
                    </a:lnTo>
                    <a:lnTo>
                      <a:pt x="0" y="6228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FEF">
                  <a:alpha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87DB36DF-7F92-4D41-9295-EA780EA6EF46}"/>
                  </a:ext>
                </a:extLst>
              </p:cNvPr>
              <p:cNvGrpSpPr/>
              <p:nvPr userDrawn="1"/>
            </p:nvGrpSpPr>
            <p:grpSpPr>
              <a:xfrm>
                <a:off x="887176" y="623550"/>
                <a:ext cx="10417647" cy="5537047"/>
                <a:chOff x="887176" y="623550"/>
                <a:chExt cx="10417647" cy="5537047"/>
              </a:xfrm>
            </p:grpSpPr>
            <p:sp>
              <p:nvSpPr>
                <p:cNvPr id="66" name="Rectangle 34"/>
                <p:cNvSpPr>
                  <a:spLocks noChangeArrowheads="1"/>
                </p:cNvSpPr>
                <p:nvPr/>
              </p:nvSpPr>
              <p:spPr bwMode="auto">
                <a:xfrm>
                  <a:off x="696496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7" name="Rectangle 35"/>
                <p:cNvSpPr>
                  <a:spLocks noChangeArrowheads="1"/>
                </p:cNvSpPr>
                <p:nvPr/>
              </p:nvSpPr>
              <p:spPr bwMode="auto">
                <a:xfrm>
                  <a:off x="899089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8" name="Rectangle 36"/>
                <p:cNvSpPr>
                  <a:spLocks noChangeArrowheads="1"/>
                </p:cNvSpPr>
                <p:nvPr/>
              </p:nvSpPr>
              <p:spPr bwMode="auto">
                <a:xfrm>
                  <a:off x="797793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9" name="Rectangle 37"/>
                <p:cNvSpPr>
                  <a:spLocks noChangeArrowheads="1"/>
                </p:cNvSpPr>
                <p:nvPr/>
              </p:nvSpPr>
              <p:spPr bwMode="auto">
                <a:xfrm>
                  <a:off x="1000386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0" name="Rectangle 38"/>
                <p:cNvSpPr>
                  <a:spLocks noChangeArrowheads="1"/>
                </p:cNvSpPr>
                <p:nvPr/>
              </p:nvSpPr>
              <p:spPr bwMode="auto">
                <a:xfrm>
                  <a:off x="11016823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1" name="Rectangle 39"/>
                <p:cNvSpPr>
                  <a:spLocks noChangeArrowheads="1"/>
                </p:cNvSpPr>
                <p:nvPr/>
              </p:nvSpPr>
              <p:spPr bwMode="auto">
                <a:xfrm>
                  <a:off x="595200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2" name="Rectangle 40"/>
                <p:cNvSpPr>
                  <a:spLocks noChangeArrowheads="1"/>
                </p:cNvSpPr>
                <p:nvPr/>
              </p:nvSpPr>
              <p:spPr bwMode="auto">
                <a:xfrm>
                  <a:off x="88717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3" name="Rectangle 41"/>
                <p:cNvSpPr>
                  <a:spLocks noChangeArrowheads="1"/>
                </p:cNvSpPr>
                <p:nvPr/>
              </p:nvSpPr>
              <p:spPr bwMode="auto">
                <a:xfrm>
                  <a:off x="190014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4" name="Rectangle 42"/>
                <p:cNvSpPr>
                  <a:spLocks noChangeArrowheads="1"/>
                </p:cNvSpPr>
                <p:nvPr/>
              </p:nvSpPr>
              <p:spPr bwMode="auto">
                <a:xfrm>
                  <a:off x="291310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5" name="Rectangle 43"/>
                <p:cNvSpPr>
                  <a:spLocks noChangeArrowheads="1"/>
                </p:cNvSpPr>
                <p:nvPr/>
              </p:nvSpPr>
              <p:spPr bwMode="auto">
                <a:xfrm>
                  <a:off x="392607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6" name="Rectangle 44"/>
                <p:cNvSpPr>
                  <a:spLocks noChangeArrowheads="1"/>
                </p:cNvSpPr>
                <p:nvPr/>
              </p:nvSpPr>
              <p:spPr bwMode="auto">
                <a:xfrm>
                  <a:off x="493903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</p:grpSp>
          <p:sp>
            <p:nvSpPr>
              <p:cNvPr id="53" name="Slide edges"/>
              <p:cNvSpPr>
                <a:spLocks/>
              </p:cNvSpPr>
              <p:nvPr userDrawn="1"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91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61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4" name="Footnote measure"/>
              <p:cNvSpPr>
                <a:spLocks noChangeArrowheads="1"/>
              </p:cNvSpPr>
              <p:nvPr userDrawn="1"/>
            </p:nvSpPr>
            <p:spPr bwMode="auto">
              <a:xfrm>
                <a:off x="232778" y="6159600"/>
                <a:ext cx="11726443" cy="378584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7" name="Whitespace measure"/>
              <p:cNvSpPr>
                <a:spLocks noChangeArrowheads="1"/>
              </p:cNvSpPr>
              <p:nvPr userDrawn="1"/>
            </p:nvSpPr>
            <p:spPr bwMode="auto">
              <a:xfrm>
                <a:off x="232778" y="1497600"/>
                <a:ext cx="11726443" cy="58320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9" name="Live area"/>
              <p:cNvSpPr/>
              <p:nvPr userDrawn="1"/>
            </p:nvSpPr>
            <p:spPr>
              <a:xfrm>
                <a:off x="232778" y="2080801"/>
                <a:ext cx="11726443" cy="4078800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71C57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756"/>
                  </a:spcAft>
                </a:pPr>
                <a:endParaRPr lang="en-US" sz="907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0" name="Footnote example"/>
              <p:cNvSpPr txBox="1"/>
              <p:nvPr userDrawn="1"/>
            </p:nvSpPr>
            <p:spPr>
              <a:xfrm>
                <a:off x="232778" y="6144441"/>
                <a:ext cx="9030914" cy="415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1. xxxx  2. xxxx  3. List footnotes in numerical order. Footnote numbers are not bracketed. Use 10pt font</a:t>
                </a:r>
              </a:p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Note: Do not put a period at the end of the note or the source</a:t>
                </a:r>
              </a:p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Source: Include a source for every chart that you use. Separate sources with a semicolon; BCG-related sources go at the end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4974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229497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38FAA8-D28A-4D9B-A153-1CB1B70827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29" b="0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7" name="Picture Placeholder 1">
            <a:extLst>
              <a:ext uri="{FF2B5EF4-FFF2-40B4-BE49-F238E27FC236}">
                <a16:creationId xmlns:a16="http://schemas.microsoft.com/office/drawing/2014/main" id="{CF8F4D1F-FA98-438E-852D-8C37076AE17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62019" y="182428"/>
            <a:ext cx="8892989" cy="481992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4CFF19D0-935E-4069-B6E6-800E642867C8}"/>
              </a:ext>
            </a:extLst>
          </p:cNvPr>
          <p:cNvGrpSpPr/>
          <p:nvPr userDrawn="1"/>
        </p:nvGrpSpPr>
        <p:grpSpPr>
          <a:xfrm>
            <a:off x="342039" y="0"/>
            <a:ext cx="655848" cy="1143207"/>
            <a:chOff x="1551833" y="0"/>
            <a:chExt cx="867536" cy="151214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EF1493A-B8D0-48C1-896F-B5F656205C31}"/>
                </a:ext>
              </a:extLst>
            </p:cNvPr>
            <p:cNvSpPr/>
            <p:nvPr/>
          </p:nvSpPr>
          <p:spPr>
            <a:xfrm>
              <a:off x="1551833" y="0"/>
              <a:ext cx="867536" cy="151214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61"/>
            </a:p>
          </p:txBody>
        </p:sp>
        <p:pic>
          <p:nvPicPr>
            <p:cNvPr id="10" name="Picture 105">
              <a:extLst>
                <a:ext uri="{FF2B5EF4-FFF2-40B4-BE49-F238E27FC236}">
                  <a16:creationId xmlns:a16="http://schemas.microsoft.com/office/drawing/2014/main" id="{3D328AC3-8839-47C9-92B4-79578537729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2610"/>
            <a:stretch/>
          </p:blipFill>
          <p:spPr bwMode="auto">
            <a:xfrm>
              <a:off x="1719636" y="280455"/>
              <a:ext cx="531931" cy="637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5">
              <a:extLst>
                <a:ext uri="{FF2B5EF4-FFF2-40B4-BE49-F238E27FC236}">
                  <a16:creationId xmlns:a16="http://schemas.microsoft.com/office/drawing/2014/main" id="{F691058F-7698-447A-A67A-C1024460267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694"/>
            <a:stretch/>
          </p:blipFill>
          <p:spPr bwMode="auto">
            <a:xfrm>
              <a:off x="1604799" y="872982"/>
              <a:ext cx="761604" cy="565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52999FD9-A847-4517-B1C1-BA03CD16B59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342039" y="2816452"/>
            <a:ext cx="4611199" cy="829815"/>
          </a:xfrm>
          <a:prstGeom prst="rect">
            <a:avLst/>
          </a:prstGeom>
          <a:solidFill>
            <a:srgbClr val="269B48">
              <a:alpha val="90000"/>
            </a:srgbClr>
          </a:solidFill>
        </p:spPr>
        <p:txBody>
          <a:bodyPr wrap="square" lIns="217440" tIns="153720" rIns="217440" bIns="153720" rtlCol="0" anchor="ctr">
            <a:spAutoFit/>
          </a:bodyPr>
          <a:lstStyle>
            <a:lvl1pPr algn="l">
              <a:lnSpc>
                <a:spcPct val="93000"/>
              </a:lnSpc>
              <a:defRPr lang="en-US" sz="3629" b="0" cap="none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in Title Cas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582E4A0B-8B9F-424D-A8AA-D7E423DB40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2039" y="4272220"/>
            <a:ext cx="4611199" cy="444116"/>
          </a:xfrm>
          <a:prstGeom prst="rect">
            <a:avLst/>
          </a:prstGeom>
          <a:solidFill>
            <a:srgbClr val="269B48">
              <a:alpha val="90000"/>
            </a:srgbClr>
          </a:solidFill>
        </p:spPr>
        <p:txBody>
          <a:bodyPr wrap="square" lIns="217440" tIns="153720" rIns="217440" bIns="153720" rtlCol="0" anchor="ctr">
            <a:noAutofit/>
          </a:bodyPr>
          <a:lstStyle>
            <a:lvl1pPr marL="0" indent="0" algn="l">
              <a:lnSpc>
                <a:spcPct val="110000"/>
              </a:lnSpc>
              <a:buNone/>
              <a:defRPr lang="en-US" sz="1361" dirty="0">
                <a:solidFill>
                  <a:srgbClr val="FFFFFF"/>
                </a:solidFill>
              </a:defRPr>
            </a:lvl1pPr>
            <a:lvl2pPr marL="345643" indent="0" algn="ctr">
              <a:buNone/>
              <a:defRPr sz="1512"/>
            </a:lvl2pPr>
            <a:lvl3pPr marL="691286" indent="0" algn="ctr">
              <a:buNone/>
              <a:defRPr sz="1361"/>
            </a:lvl3pPr>
            <a:lvl4pPr marL="1036930" indent="0" algn="ctr">
              <a:buNone/>
              <a:defRPr sz="1210"/>
            </a:lvl4pPr>
            <a:lvl5pPr marL="1382573" indent="0" algn="ctr">
              <a:buNone/>
              <a:defRPr sz="1210"/>
            </a:lvl5pPr>
            <a:lvl6pPr marL="1728216" indent="0" algn="ctr">
              <a:buNone/>
              <a:defRPr sz="1210"/>
            </a:lvl6pPr>
            <a:lvl7pPr marL="2073859" indent="0" algn="ctr">
              <a:buNone/>
              <a:defRPr sz="1210"/>
            </a:lvl7pPr>
            <a:lvl8pPr marL="2419502" indent="0" algn="ctr">
              <a:buNone/>
              <a:defRPr sz="1210"/>
            </a:lvl8pPr>
            <a:lvl9pPr marL="2765146" indent="0" algn="ctr">
              <a:buNone/>
              <a:defRPr sz="1210"/>
            </a:lvl9pPr>
          </a:lstStyle>
          <a:p>
            <a:pPr lvl="0"/>
            <a:r>
              <a:rPr lang="en-US"/>
              <a:t>Subtitle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276077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6FAAE9-8919-47A9-810A-46E2311D96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682253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66FAAE9-8919-47A9-810A-46E2311D96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8500858-A0DD-4BB9-810E-78957CD935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8FE3B21-3C70-4BD1-A080-B7BD33F4F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4667690-A174-4A13-9769-6A900873CD5A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356008"/>
          </a:xfrm>
        </p:spPr>
        <p:txBody>
          <a:bodyPr/>
          <a:lstStyle>
            <a:lvl1pPr>
              <a:defRPr sz="257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5978" y="1576774"/>
            <a:ext cx="8865067" cy="309145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2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2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2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17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17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676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802C37-F4E1-4E2F-BE78-27024D53A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95409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802C37-F4E1-4E2F-BE78-27024D53A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E701B6-155C-447A-8BB3-D92030917D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124AD70-E558-4B24-B872-E88B283623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2513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2B4F35-6FFE-47FF-9376-11F21018FC3E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2475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802C37-F4E1-4E2F-BE78-27024D53A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495087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802C37-F4E1-4E2F-BE78-27024D53A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AE701B6-155C-447A-8BB3-D92030917D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358AB5F-B36F-4977-9F5F-4983763213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88A46CD-A84C-488A-BF98-457AF80B516D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75981" y="170426"/>
            <a:ext cx="8260451" cy="571285"/>
          </a:xfrm>
        </p:spPr>
        <p:txBody>
          <a:bodyPr lIns="91440" tIns="45720" rIns="91440" bIns="45720" anchor="ctr" anchorCtr="0">
            <a:noAutofit/>
          </a:bodyPr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1062E2-C490-40DB-972F-4D0130C877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6131" y="931695"/>
            <a:ext cx="8864914" cy="326468"/>
          </a:xfrm>
        </p:spPr>
        <p:txBody>
          <a:bodyPr lIns="91440" tIns="45720" rIns="91440" bIns="45720" anchor="ctr" anchorCtr="0"/>
          <a:lstStyle>
            <a:lvl1pPr>
              <a:defRPr b="1"/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95406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29D43AA-A04F-41D9-AA68-5C5DA52EB7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95935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29D43AA-A04F-41D9-AA68-5C5DA52EB7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C468AF6-DDB8-4C89-A949-9AC32E2AD8E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D255918-D50D-4B9A-88D8-1F1F73C469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A8DE5AD-DDC4-4EA8-ADA0-F927DA835B7C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251300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5978" y="1576774"/>
            <a:ext cx="8865067" cy="307924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0033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A7A0A80-04CD-4A2B-83B0-BE94A3186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307652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A7A0A80-04CD-4A2B-83B0-BE94A3186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white">
          <a:xfrm>
            <a:off x="1" y="-989"/>
            <a:ext cx="3548918" cy="518576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128" tIns="34564" rIns="69128" bIns="345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6273" y="1632235"/>
            <a:ext cx="2830425" cy="409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1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345643" indent="0" algn="ctr">
              <a:buNone/>
              <a:defRPr sz="1512"/>
            </a:lvl2pPr>
            <a:lvl3pPr marL="691286" indent="0" algn="ctr">
              <a:buNone/>
              <a:defRPr sz="1361"/>
            </a:lvl3pPr>
            <a:lvl4pPr marL="1036930" indent="0" algn="ctr">
              <a:buNone/>
              <a:defRPr sz="1210"/>
            </a:lvl4pPr>
            <a:lvl5pPr marL="1382573" indent="0" algn="ctr">
              <a:buNone/>
              <a:defRPr sz="1210"/>
            </a:lvl5pPr>
            <a:lvl6pPr marL="1728216" indent="0" algn="ctr">
              <a:buNone/>
              <a:defRPr sz="1210"/>
            </a:lvl6pPr>
            <a:lvl7pPr marL="2073859" indent="0" algn="ctr">
              <a:buNone/>
              <a:defRPr sz="1210"/>
            </a:lvl7pPr>
            <a:lvl8pPr marL="2419502" indent="0" algn="ctr">
              <a:buNone/>
              <a:defRPr sz="1210"/>
            </a:lvl8pPr>
            <a:lvl9pPr marL="2765146" indent="0" algn="ctr">
              <a:buNone/>
              <a:defRPr sz="121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6273" y="927671"/>
            <a:ext cx="2830425" cy="502599"/>
          </a:xfrm>
        </p:spPr>
        <p:txBody>
          <a:bodyPr anchor="t">
            <a:noAutofit/>
          </a:bodyPr>
          <a:lstStyle>
            <a:lvl1pPr>
              <a:defRPr sz="1814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04204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F9AA1B-9848-4A8D-B327-612570EA3F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82643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F9AA1B-9848-4A8D-B327-612570EA3F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3196D4-52F1-4757-BE59-CC7959CEFF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71252" y="2017088"/>
            <a:ext cx="7272991" cy="2420035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8191" y="1076632"/>
            <a:ext cx="719491" cy="719519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0479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CE535C-696E-45DD-B40A-F6C1206E1E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167344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CE535C-696E-45DD-B40A-F6C1206E1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A1FEA6-016F-4E2C-8363-12895B607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6273" y="2893132"/>
            <a:ext cx="8268107" cy="1543185"/>
          </a:xfrm>
        </p:spPr>
        <p:txBody>
          <a:bodyPr anchor="t">
            <a:noAutofit/>
          </a:bodyPr>
          <a:lstStyle>
            <a:lvl1pPr>
              <a:defRPr sz="4082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6274" y="2782160"/>
            <a:ext cx="8738171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5402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5E4F32-9755-45C2-8BE1-647ED800B3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42097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5E4F32-9755-45C2-8BE1-647ED800B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73093" y="0"/>
            <a:ext cx="315211" cy="5184775"/>
          </a:xfrm>
          <a:prstGeom prst="rect">
            <a:avLst/>
          </a:prstGeom>
        </p:spPr>
      </p:pic>
      <p:sp>
        <p:nvSpPr>
          <p:cNvPr id="20" name="TextBox 19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84066" cy="51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6274" y="2026964"/>
            <a:ext cx="2364645" cy="11308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14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E39161-158A-461E-B2DB-22462B7E9D7C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64998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EEEC767-AD81-4D6C-82A1-EE9BA46294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16572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EEEC767-AD81-4D6C-82A1-EE9BA46294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78BB338-5DF7-4D9F-999A-71BA4D82E2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417124" y="0"/>
            <a:ext cx="315211" cy="518477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421924" cy="51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470849"/>
            <a:ext cx="4744991" cy="25130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A29B80D-3A67-4215-8A68-A7DD09E583E8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8404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5250B59-C656-419B-A33F-7DAECFEE1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408686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5250B59-C656-419B-A33F-7DAECFEE1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132D08A-7B7E-42E6-99A8-4DC2469AC2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826016" y="0"/>
            <a:ext cx="315211" cy="51847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829816" cy="51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6124713" cy="25130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C89C2E-87CD-4D33-8407-FAB6105C8C81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9719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D1AA52-F86C-41F5-8118-DD93020232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632969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D1AA52-F86C-41F5-8118-DD93020232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C982CB6-302B-44FB-9340-3BE71C5906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75289" y="0"/>
            <a:ext cx="315211" cy="5184775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6274" y="2026964"/>
            <a:ext cx="2364645" cy="11308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14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85015" y="-989"/>
            <a:ext cx="6132011" cy="5185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B852376-ED48-4084-9E64-D2A28E6179D2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5818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3575D1-DF5F-4A2C-B443-143DF390B2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264688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3575D1-DF5F-4A2C-B443-143DF390B2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989"/>
            <a:ext cx="3548918" cy="518576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128" tIns="34564" rIns="69128" bIns="345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6274" y="1167500"/>
            <a:ext cx="2609978" cy="1130848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19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19972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8A6FA88-5760-413D-ABE7-6E0F3BF02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864642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8A6FA88-5760-413D-ABE7-6E0F3BF02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A130605-E664-41FA-8560-FDA194F411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301265" y="0"/>
            <a:ext cx="315211" cy="518477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608512" y="0"/>
            <a:ext cx="4608513" cy="518477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605505" y="0"/>
            <a:ext cx="4611519" cy="5184775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61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6273" y="1349947"/>
            <a:ext cx="3317585" cy="2484882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2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D21E222-D8B3-40C5-A653-76B331D136C5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62856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EFD65C3-C078-4F67-A39C-F3F1BEBA4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57133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EFD65C3-C078-4F67-A39C-F3F1BEBA4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E4A94F-F2CD-431C-A463-043C263BEB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01769" y="0"/>
            <a:ext cx="315211" cy="5184775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911493" y="0"/>
            <a:ext cx="3305532" cy="51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911858" y="0"/>
            <a:ext cx="3305168" cy="5184775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1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6981" y="1349947"/>
            <a:ext cx="4723084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651D44-4D02-459E-9185-83434C14BA97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4899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874448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09352A5-0226-422B-9A89-A16435449E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52" y="99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3B8AD2-B1D3-4650-B491-6DF468F79C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273" y="2089789"/>
            <a:ext cx="1873825" cy="993643"/>
          </a:xfrm>
        </p:spPr>
        <p:txBody>
          <a:bodyPr anchor="ctr"/>
          <a:lstStyle>
            <a:lvl1pPr>
              <a:defRPr sz="1814" b="1" cap="all" baseline="0">
                <a:latin typeface="+mn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093" y="2714408"/>
            <a:ext cx="1032115" cy="255758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81CBDF-9077-4B79-9F57-F56D5D710F4C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303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DE5143-18FD-47E6-A609-4B0ADA11EB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507235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DE5143-18FD-47E6-A609-4B0ADA11EB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3F6B90-44A4-4AA7-BFB3-C8508CA2A7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152" y="99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6273" y="2089789"/>
            <a:ext cx="1873825" cy="99364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44007" y="2572602"/>
            <a:ext cx="2037139" cy="2617143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57F6E73-6366-4B19-8F05-C38127F9CA61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60490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A02DC9-4605-4F96-A9A5-BD727214E8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33746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A02DC9-4605-4F96-A9A5-BD727214E8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A26DDE6-634F-4007-ADC7-99589985AD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102695" cy="5184775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1349947"/>
            <a:ext cx="3071007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586" y="2566223"/>
            <a:ext cx="981709" cy="2700404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C70F2FE-5764-44EF-A38B-3D530FCADABC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959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0D57F8-9753-4A68-86B0-1DBFBC0154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552997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0D57F8-9753-4A68-86B0-1DBFBC0154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4102695" cy="5184775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1349947"/>
            <a:ext cx="3071007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704976" y="2582786"/>
            <a:ext cx="2037139" cy="2601989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29A02D3-470F-4229-A886-D2BCC7BD5FAE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48212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3639AED-75A7-4EE7-B8BA-6FE4D57E8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30268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3639AED-75A7-4EE7-B8BA-6FE4D57E8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88D273-8CC2-4A97-9F50-38CA340DCFD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4810774" cy="5184775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3589304" cy="25130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0685" y="2713809"/>
            <a:ext cx="1032115" cy="255758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5D955B0-D91C-43CC-BF40-C90E247E1015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8061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9CA1A7-BC84-4DD8-83CB-4C13B320F7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695122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9CA1A7-BC84-4DD8-83CB-4C13B320F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6365D6C-B0BB-49AD-9FE8-A053333B033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4810774" cy="5184775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3589304" cy="2513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71844" y="2576362"/>
            <a:ext cx="2037139" cy="2613217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D7CD688-272E-46C1-9986-0D27AC9FE3B0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551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5C8E13-95B1-46A7-9145-C226B759CB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37343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5C8E13-95B1-46A7-9145-C226B759CB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011A508-F6E4-43FC-A50D-C5B1C579CD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85269" cy="51847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4728334" cy="251300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618" y="2713809"/>
            <a:ext cx="1032115" cy="255758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67BB895-CFAE-4536-8442-27674E9A696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739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6BAF38-18DE-44F2-9F9F-FAF08F9FC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63248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6BAF38-18DE-44F2-9F9F-FAF08F9FC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C63F800-AF78-4470-90EE-D6261D6A21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6385269" cy="51847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3" y="470849"/>
            <a:ext cx="4728334" cy="2513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TextBox 1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65059" y="2576362"/>
            <a:ext cx="2037139" cy="2613217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73F9953-1267-409B-AA7D-52C03FA65542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1503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0F3CC-F57A-4CB0-AFCA-F67131DDB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544039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0F3CC-F57A-4CB0-AFCA-F67131DDB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7E9FA7-5011-4D5F-B92D-C6B5D6244C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71252" y="2017088"/>
            <a:ext cx="7272991" cy="2420035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 hidden="1"/>
          <p:cNvSpPr txBox="1"/>
          <p:nvPr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71252" y="1079693"/>
            <a:ext cx="716430" cy="716458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77F7F8-F3E5-4976-983D-0ACF76B925F1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2924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E7B021-D7CF-4FD4-9D63-C70B8DF48E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30235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E7B021-D7CF-4FD4-9D63-C70B8DF48E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2C7EC4-563F-4664-818A-4762C2487A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Box 9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2892778"/>
            <a:ext cx="8265385" cy="1214582"/>
          </a:xfrm>
        </p:spPr>
        <p:txBody>
          <a:bodyPr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CAFEA6-21E3-4681-9CF8-46AD278FFDED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59814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968E95-7236-4890-8F1E-AB34F890CF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184344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968E95-7236-4890-8F1E-AB34F890CF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A2CBA2-D875-4F59-A8E5-5FE314A47E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6274" y="472871"/>
            <a:ext cx="705102" cy="70512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2892778"/>
            <a:ext cx="8265385" cy="121458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052046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859246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138799" y="76838"/>
            <a:ext cx="581573" cy="757488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9217025" cy="4435814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69128" tIns="34564" rIns="69128" bIns="34564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361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764B114-B9EA-43BC-9AEA-5479FE374ACB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9229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2A1F-B051-4FBC-995E-335779E25F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257814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2A1F-B051-4FBC-995E-335779E25F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17B280C-D81B-4F7D-98EE-45CEDA729E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 hidden="1"/>
          <p:cNvSpPr txBox="1"/>
          <p:nvPr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470849"/>
            <a:ext cx="8265385" cy="2513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78CF7A-043F-4799-82CD-10B79799AD96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746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D6BBF15-F01C-4EF2-8D66-D2C35D990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835567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D6BBF15-F01C-4EF2-8D66-D2C35D990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6273" y="2091676"/>
            <a:ext cx="2346441" cy="104650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9"/>
              </a:spcAft>
              <a:buFontTx/>
              <a:buNone/>
            </a:pPr>
            <a:r>
              <a:rPr lang="en-US" sz="3326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0098" y="2711648"/>
            <a:ext cx="1032115" cy="255758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F17FD78-DAF3-4119-9D84-7A953A66E898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9665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C982CE2-BEE6-4F19-B4C9-EA4498079D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929764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C982CE2-BEE6-4F19-B4C9-EA4498079D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96E475-2CC2-41AC-9140-B211FCA28037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7098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6F5690-3475-4765-86D7-FE00F7A36E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91860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6F5690-3475-4765-86D7-FE00F7A36E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7236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C9C716-50AF-4B53-830D-3E3E71F547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548878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C9C716-50AF-4B53-830D-3E3E71F54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5925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151857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3295EBA1-8C04-4825-949C-A8967658D90D}"/>
              </a:ext>
            </a:extLst>
          </p:cNvPr>
          <p:cNvSpPr txBox="1">
            <a:spLocks/>
          </p:cNvSpPr>
          <p:nvPr userDrawn="1"/>
        </p:nvSpPr>
        <p:spPr>
          <a:xfrm>
            <a:off x="0" y="1993555"/>
            <a:ext cx="9217025" cy="979908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cap="all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024"/>
              <a:t>THANK YOU</a:t>
            </a:r>
            <a:endParaRPr lang="en-SG" sz="3024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9A55903-7829-4D60-9EC3-69D13DDED2DB}"/>
              </a:ext>
            </a:extLst>
          </p:cNvPr>
          <p:cNvGrpSpPr/>
          <p:nvPr userDrawn="1"/>
        </p:nvGrpSpPr>
        <p:grpSpPr>
          <a:xfrm>
            <a:off x="0" y="2085432"/>
            <a:ext cx="9217025" cy="3099343"/>
            <a:chOff x="0" y="2758440"/>
            <a:chExt cx="12192000" cy="409956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3E679AA-E7C6-4951-9327-95A8495D9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0" y="2758440"/>
              <a:ext cx="12192000" cy="409956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76C37BA-2960-43FE-A8B8-917FDAE04CEC}"/>
                </a:ext>
              </a:extLst>
            </p:cNvPr>
            <p:cNvSpPr/>
            <p:nvPr/>
          </p:nvSpPr>
          <p:spPr>
            <a:xfrm>
              <a:off x="172720" y="5394960"/>
              <a:ext cx="3688080" cy="1290320"/>
            </a:xfrm>
            <a:prstGeom prst="rect">
              <a:avLst/>
            </a:prstGeom>
            <a:solidFill>
              <a:schemeClr val="bg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907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9236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D9906D-4D46-411C-AB62-CADADD3D2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565666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D9906D-4D46-411C-AB62-CADADD3D2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0" name="Group 49">
            <a:extLst>
              <a:ext uri="{FF2B5EF4-FFF2-40B4-BE49-F238E27FC236}">
                <a16:creationId xmlns:a16="http://schemas.microsoft.com/office/drawing/2014/main" id="{6102A332-0C7A-4A6F-8045-DD9D0A25E923}"/>
              </a:ext>
            </a:extLst>
          </p:cNvPr>
          <p:cNvGrpSpPr/>
          <p:nvPr userDrawn="1"/>
        </p:nvGrpSpPr>
        <p:grpSpPr>
          <a:xfrm>
            <a:off x="-454" y="-1"/>
            <a:ext cx="9218386" cy="5184776"/>
            <a:chOff x="-600" y="-1"/>
            <a:chExt cx="12193800" cy="6858001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1982AF37-A4FC-4201-86A1-88BAA8761F90}"/>
                </a:ext>
              </a:extLst>
            </p:cNvPr>
            <p:cNvGrpSpPr/>
            <p:nvPr userDrawn="1"/>
          </p:nvGrpSpPr>
          <p:grpSpPr>
            <a:xfrm>
              <a:off x="-600" y="622800"/>
              <a:ext cx="12193200" cy="5536800"/>
              <a:chOff x="-600" y="622800"/>
              <a:chExt cx="121932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3D65D250-CDB4-4D3F-B43F-BEC9E44C585D}"/>
                  </a:ext>
                </a:extLst>
              </p:cNvPr>
              <p:cNvCxnSpPr/>
              <p:nvPr/>
            </p:nvCxnSpPr>
            <p:spPr>
              <a:xfrm>
                <a:off x="-600" y="6228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CE9EB5A0-9B57-4BEC-8F91-82A1B7FBE3E0}"/>
                  </a:ext>
                </a:extLst>
              </p:cNvPr>
              <p:cNvCxnSpPr/>
              <p:nvPr/>
            </p:nvCxnSpPr>
            <p:spPr>
              <a:xfrm>
                <a:off x="-600" y="91421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56AF10B3-5740-4441-A32D-6F1558001014}"/>
                  </a:ext>
                </a:extLst>
              </p:cNvPr>
              <p:cNvCxnSpPr/>
              <p:nvPr/>
            </p:nvCxnSpPr>
            <p:spPr>
              <a:xfrm>
                <a:off x="-600" y="120562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4A86479A-0C95-4920-AE8D-85A7FBD27198}"/>
                  </a:ext>
                </a:extLst>
              </p:cNvPr>
              <p:cNvCxnSpPr/>
              <p:nvPr/>
            </p:nvCxnSpPr>
            <p:spPr>
              <a:xfrm>
                <a:off x="-600" y="1497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595D13B5-EA31-43CF-BD6B-87450DA721F5}"/>
                  </a:ext>
                </a:extLst>
              </p:cNvPr>
              <p:cNvCxnSpPr/>
              <p:nvPr/>
            </p:nvCxnSpPr>
            <p:spPr>
              <a:xfrm>
                <a:off x="-600" y="178844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8A9C056B-AAB2-49A1-9ED8-CB069274B498}"/>
                  </a:ext>
                </a:extLst>
              </p:cNvPr>
              <p:cNvCxnSpPr/>
              <p:nvPr/>
            </p:nvCxnSpPr>
            <p:spPr>
              <a:xfrm>
                <a:off x="-600" y="207985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5F0BC8E8-44DB-4582-810E-608A149781A9}"/>
                  </a:ext>
                </a:extLst>
              </p:cNvPr>
              <p:cNvCxnSpPr/>
              <p:nvPr/>
            </p:nvCxnSpPr>
            <p:spPr>
              <a:xfrm>
                <a:off x="-600" y="237126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B56D8CFC-D9D7-4626-9539-005375518DCA}"/>
                  </a:ext>
                </a:extLst>
              </p:cNvPr>
              <p:cNvCxnSpPr/>
              <p:nvPr/>
            </p:nvCxnSpPr>
            <p:spPr>
              <a:xfrm>
                <a:off x="-600" y="266267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8E55AAEE-9EF6-49AD-AF6D-7FEEB2DE94AE}"/>
                  </a:ext>
                </a:extLst>
              </p:cNvPr>
              <p:cNvCxnSpPr/>
              <p:nvPr/>
            </p:nvCxnSpPr>
            <p:spPr>
              <a:xfrm>
                <a:off x="-600" y="295408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50897CF1-DCC2-40DE-B3A8-C3B0AC417860}"/>
                  </a:ext>
                </a:extLst>
              </p:cNvPr>
              <p:cNvCxnSpPr/>
              <p:nvPr/>
            </p:nvCxnSpPr>
            <p:spPr>
              <a:xfrm>
                <a:off x="-600" y="3245499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0575588E-7C77-49DB-A6F0-49DF55E4A41C}"/>
                  </a:ext>
                </a:extLst>
              </p:cNvPr>
              <p:cNvCxnSpPr/>
              <p:nvPr/>
            </p:nvCxnSpPr>
            <p:spPr>
              <a:xfrm>
                <a:off x="-600" y="353691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68EA56AF-79B7-43A7-8ED4-7C83C66F7DC4}"/>
                  </a:ext>
                </a:extLst>
              </p:cNvPr>
              <p:cNvCxnSpPr/>
              <p:nvPr/>
            </p:nvCxnSpPr>
            <p:spPr>
              <a:xfrm>
                <a:off x="-600" y="3828321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6540195D-247A-42CC-9848-3BF6D06AC8F8}"/>
                  </a:ext>
                </a:extLst>
              </p:cNvPr>
              <p:cNvCxnSpPr/>
              <p:nvPr/>
            </p:nvCxnSpPr>
            <p:spPr>
              <a:xfrm>
                <a:off x="-600" y="4119732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F61D9A7B-F6FF-49A1-A953-8B947397C3C6}"/>
                  </a:ext>
                </a:extLst>
              </p:cNvPr>
              <p:cNvCxnSpPr/>
              <p:nvPr/>
            </p:nvCxnSpPr>
            <p:spPr>
              <a:xfrm>
                <a:off x="-600" y="4411143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2C9539CD-A48F-4BA6-8D20-E2EF5577BC4D}"/>
                  </a:ext>
                </a:extLst>
              </p:cNvPr>
              <p:cNvCxnSpPr/>
              <p:nvPr/>
            </p:nvCxnSpPr>
            <p:spPr>
              <a:xfrm>
                <a:off x="-600" y="4702554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BE598218-4C50-450E-80D7-7488A3902182}"/>
                  </a:ext>
                </a:extLst>
              </p:cNvPr>
              <p:cNvCxnSpPr/>
              <p:nvPr/>
            </p:nvCxnSpPr>
            <p:spPr>
              <a:xfrm>
                <a:off x="-600" y="4993965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87EB795E-4759-4C6E-99A2-DB95485DA044}"/>
                  </a:ext>
                </a:extLst>
              </p:cNvPr>
              <p:cNvCxnSpPr/>
              <p:nvPr/>
            </p:nvCxnSpPr>
            <p:spPr>
              <a:xfrm>
                <a:off x="-600" y="5285376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57CB7D65-A97C-481E-898B-BEF6862B1574}"/>
                  </a:ext>
                </a:extLst>
              </p:cNvPr>
              <p:cNvCxnSpPr/>
              <p:nvPr/>
            </p:nvCxnSpPr>
            <p:spPr>
              <a:xfrm>
                <a:off x="-600" y="5576787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9CF205DE-3443-4909-A522-A581AD6FD8DE}"/>
                  </a:ext>
                </a:extLst>
              </p:cNvPr>
              <p:cNvCxnSpPr/>
              <p:nvPr/>
            </p:nvCxnSpPr>
            <p:spPr>
              <a:xfrm>
                <a:off x="-600" y="5868198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7BDC623-F526-4A1C-B957-025420B8726C}"/>
                  </a:ext>
                </a:extLst>
              </p:cNvPr>
              <p:cNvCxnSpPr/>
              <p:nvPr/>
            </p:nvCxnSpPr>
            <p:spPr>
              <a:xfrm>
                <a:off x="-600" y="6159600"/>
                <a:ext cx="121932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265BA3AE-6F2B-4FFA-A9D4-5B0E2CEB408E}"/>
                </a:ext>
              </a:extLst>
            </p:cNvPr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72" name="Rectangle 5">
                <a:extLst>
                  <a:ext uri="{FF2B5EF4-FFF2-40B4-BE49-F238E27FC236}">
                    <a16:creationId xmlns:a16="http://schemas.microsoft.com/office/drawing/2014/main" id="{691C63A3-7EC2-40D1-BCD7-CC3EF57674D7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7">
                <a:extLst>
                  <a:ext uri="{FF2B5EF4-FFF2-40B4-BE49-F238E27FC236}">
                    <a16:creationId xmlns:a16="http://schemas.microsoft.com/office/drawing/2014/main" id="{46B4BF63-81B4-42F6-BFAF-112B2DF5D59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9">
                <a:extLst>
                  <a:ext uri="{FF2B5EF4-FFF2-40B4-BE49-F238E27FC236}">
                    <a16:creationId xmlns:a16="http://schemas.microsoft.com/office/drawing/2014/main" id="{E17D7CBE-2D91-4C7A-9F8F-6B8CE78ACBA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11">
                <a:extLst>
                  <a:ext uri="{FF2B5EF4-FFF2-40B4-BE49-F238E27FC236}">
                    <a16:creationId xmlns:a16="http://schemas.microsoft.com/office/drawing/2014/main" id="{771C7C2F-1BE3-42E4-B892-B1A7664F69F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13">
                <a:extLst>
                  <a:ext uri="{FF2B5EF4-FFF2-40B4-BE49-F238E27FC236}">
                    <a16:creationId xmlns:a16="http://schemas.microsoft.com/office/drawing/2014/main" id="{832DE4DC-DE45-486F-816C-88D190C7925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0A49C9B0-92C3-4EFB-9B7C-E2F4BF953CAE}"/>
                </a:ext>
              </a:extLst>
            </p:cNvPr>
            <p:cNvGrpSpPr/>
            <p:nvPr userDrawn="1"/>
          </p:nvGrpSpPr>
          <p:grpSpPr>
            <a:xfrm>
              <a:off x="-600" y="-1"/>
              <a:ext cx="12193800" cy="6858001"/>
              <a:chOff x="-600" y="-1"/>
              <a:chExt cx="12193800" cy="6858001"/>
            </a:xfrm>
          </p:grpSpPr>
          <p:sp>
            <p:nvSpPr>
              <p:cNvPr id="54" name="No fly zone">
                <a:extLst>
                  <a:ext uri="{FF2B5EF4-FFF2-40B4-BE49-F238E27FC236}">
                    <a16:creationId xmlns:a16="http://schemas.microsoft.com/office/drawing/2014/main" id="{F122CC3A-B13E-4E5C-B241-8A46C3796D51}"/>
                  </a:ext>
                </a:extLst>
              </p:cNvPr>
              <p:cNvSpPr/>
              <p:nvPr/>
            </p:nvSpPr>
            <p:spPr>
              <a:xfrm>
                <a:off x="0" y="-1"/>
                <a:ext cx="12193200" cy="6858000"/>
              </a:xfrm>
              <a:custGeom>
                <a:avLst/>
                <a:gdLst>
                  <a:gd name="connsiteX0" fmla="*/ 630001 w 12193200"/>
                  <a:gd name="connsiteY0" fmla="*/ 62280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0 w 12193200"/>
                  <a:gd name="connsiteY4" fmla="*/ 0 h 6858000"/>
                  <a:gd name="connsiteX5" fmla="*/ 12193200 w 12193200"/>
                  <a:gd name="connsiteY5" fmla="*/ 0 h 6858000"/>
                  <a:gd name="connsiteX6" fmla="*/ 12193200 w 12193200"/>
                  <a:gd name="connsiteY6" fmla="*/ 622800 h 6858000"/>
                  <a:gd name="connsiteX7" fmla="*/ 12192000 w 12193200"/>
                  <a:gd name="connsiteY7" fmla="*/ 622800 h 6858000"/>
                  <a:gd name="connsiteX8" fmla="*/ 12192000 w 12193200"/>
                  <a:gd name="connsiteY8" fmla="*/ 6160597 h 6858000"/>
                  <a:gd name="connsiteX9" fmla="*/ 12193200 w 12193200"/>
                  <a:gd name="connsiteY9" fmla="*/ 6160597 h 6858000"/>
                  <a:gd name="connsiteX10" fmla="*/ 12193200 w 12193200"/>
                  <a:gd name="connsiteY10" fmla="*/ 6858000 h 6858000"/>
                  <a:gd name="connsiteX11" fmla="*/ 12192000 w 12193200"/>
                  <a:gd name="connsiteY11" fmla="*/ 6858000 h 6858000"/>
                  <a:gd name="connsiteX12" fmla="*/ 11562000 w 12193200"/>
                  <a:gd name="connsiteY12" fmla="*/ 6858000 h 6858000"/>
                  <a:gd name="connsiteX13" fmla="*/ 630001 w 12193200"/>
                  <a:gd name="connsiteY13" fmla="*/ 6858000 h 6858000"/>
                  <a:gd name="connsiteX14" fmla="*/ 1 w 12193200"/>
                  <a:gd name="connsiteY14" fmla="*/ 6858000 h 6858000"/>
                  <a:gd name="connsiteX15" fmla="*/ 1 w 12193200"/>
                  <a:gd name="connsiteY15" fmla="*/ 6160597 h 6858000"/>
                  <a:gd name="connsiteX16" fmla="*/ 1 w 12193200"/>
                  <a:gd name="connsiteY16" fmla="*/ 622800 h 6858000"/>
                  <a:gd name="connsiteX17" fmla="*/ 0 w 12193200"/>
                  <a:gd name="connsiteY17" fmla="*/ 622800 h 6858000"/>
                  <a:gd name="connsiteX0" fmla="*/ 306151 w 12193200"/>
                  <a:gd name="connsiteY0" fmla="*/ 6037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306151 w 12193200"/>
                  <a:gd name="connsiteY4" fmla="*/ 6037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306151 w 12193200"/>
                  <a:gd name="connsiteY0" fmla="*/ 6037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306151 w 12193200"/>
                  <a:gd name="connsiteY4" fmla="*/ 6037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42651 w 12193200"/>
                  <a:gd name="connsiteY0" fmla="*/ 61010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42651 w 12193200"/>
                  <a:gd name="connsiteY4" fmla="*/ 61010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63000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29951 w 12193200"/>
                  <a:gd name="connsiteY1" fmla="*/ 616694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562000 w 12193200"/>
                  <a:gd name="connsiteY2" fmla="*/ 6160597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959933 w 12193200"/>
                  <a:gd name="connsiteY2" fmla="*/ 6169064 h 6858000"/>
                  <a:gd name="connsiteX3" fmla="*/ 11562000 w 12193200"/>
                  <a:gd name="connsiteY3" fmla="*/ 622800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  <a:gd name="connsiteX0" fmla="*/ 236301 w 12193200"/>
                  <a:gd name="connsiteY0" fmla="*/ 616450 h 6858000"/>
                  <a:gd name="connsiteX1" fmla="*/ 242651 w 12193200"/>
                  <a:gd name="connsiteY1" fmla="*/ 6160597 h 6858000"/>
                  <a:gd name="connsiteX2" fmla="*/ 11959933 w 12193200"/>
                  <a:gd name="connsiteY2" fmla="*/ 6169064 h 6858000"/>
                  <a:gd name="connsiteX3" fmla="*/ 11955700 w 12193200"/>
                  <a:gd name="connsiteY3" fmla="*/ 631267 h 6858000"/>
                  <a:gd name="connsiteX4" fmla="*/ 236301 w 12193200"/>
                  <a:gd name="connsiteY4" fmla="*/ 616450 h 6858000"/>
                  <a:gd name="connsiteX5" fmla="*/ 0 w 12193200"/>
                  <a:gd name="connsiteY5" fmla="*/ 0 h 6858000"/>
                  <a:gd name="connsiteX6" fmla="*/ 12193200 w 12193200"/>
                  <a:gd name="connsiteY6" fmla="*/ 0 h 6858000"/>
                  <a:gd name="connsiteX7" fmla="*/ 12193200 w 12193200"/>
                  <a:gd name="connsiteY7" fmla="*/ 622800 h 6858000"/>
                  <a:gd name="connsiteX8" fmla="*/ 12192000 w 12193200"/>
                  <a:gd name="connsiteY8" fmla="*/ 622800 h 6858000"/>
                  <a:gd name="connsiteX9" fmla="*/ 12192000 w 12193200"/>
                  <a:gd name="connsiteY9" fmla="*/ 6160597 h 6858000"/>
                  <a:gd name="connsiteX10" fmla="*/ 12193200 w 12193200"/>
                  <a:gd name="connsiteY10" fmla="*/ 6160597 h 6858000"/>
                  <a:gd name="connsiteX11" fmla="*/ 12193200 w 12193200"/>
                  <a:gd name="connsiteY11" fmla="*/ 6858000 h 6858000"/>
                  <a:gd name="connsiteX12" fmla="*/ 12192000 w 12193200"/>
                  <a:gd name="connsiteY12" fmla="*/ 6858000 h 6858000"/>
                  <a:gd name="connsiteX13" fmla="*/ 11562000 w 12193200"/>
                  <a:gd name="connsiteY13" fmla="*/ 6858000 h 6858000"/>
                  <a:gd name="connsiteX14" fmla="*/ 630001 w 12193200"/>
                  <a:gd name="connsiteY14" fmla="*/ 6858000 h 6858000"/>
                  <a:gd name="connsiteX15" fmla="*/ 1 w 12193200"/>
                  <a:gd name="connsiteY15" fmla="*/ 6858000 h 6858000"/>
                  <a:gd name="connsiteX16" fmla="*/ 1 w 12193200"/>
                  <a:gd name="connsiteY16" fmla="*/ 6160597 h 6858000"/>
                  <a:gd name="connsiteX17" fmla="*/ 1 w 12193200"/>
                  <a:gd name="connsiteY17" fmla="*/ 622800 h 6858000"/>
                  <a:gd name="connsiteX18" fmla="*/ 0 w 12193200"/>
                  <a:gd name="connsiteY18" fmla="*/ 622800 h 6858000"/>
                  <a:gd name="connsiteX19" fmla="*/ 0 w 12193200"/>
                  <a:gd name="connsiteY19" fmla="*/ 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193200" h="6858000">
                    <a:moveTo>
                      <a:pt x="236301" y="616450"/>
                    </a:moveTo>
                    <a:cubicBezTo>
                      <a:pt x="234184" y="2466616"/>
                      <a:pt x="244768" y="4310431"/>
                      <a:pt x="242651" y="6160597"/>
                    </a:cubicBezTo>
                    <a:lnTo>
                      <a:pt x="11959933" y="6169064"/>
                    </a:lnTo>
                    <a:lnTo>
                      <a:pt x="11955700" y="631267"/>
                    </a:lnTo>
                    <a:lnTo>
                      <a:pt x="236301" y="616450"/>
                    </a:lnTo>
                    <a:close/>
                    <a:moveTo>
                      <a:pt x="0" y="0"/>
                    </a:moveTo>
                    <a:lnTo>
                      <a:pt x="12193200" y="0"/>
                    </a:lnTo>
                    <a:lnTo>
                      <a:pt x="12193200" y="622800"/>
                    </a:lnTo>
                    <a:lnTo>
                      <a:pt x="12192000" y="622800"/>
                    </a:lnTo>
                    <a:lnTo>
                      <a:pt x="12192000" y="6160597"/>
                    </a:lnTo>
                    <a:lnTo>
                      <a:pt x="12193200" y="6160597"/>
                    </a:lnTo>
                    <a:lnTo>
                      <a:pt x="12193200" y="6858000"/>
                    </a:lnTo>
                    <a:lnTo>
                      <a:pt x="12192000" y="6858000"/>
                    </a:lnTo>
                    <a:lnTo>
                      <a:pt x="11562000" y="6858000"/>
                    </a:lnTo>
                    <a:lnTo>
                      <a:pt x="630001" y="6858000"/>
                    </a:lnTo>
                    <a:lnTo>
                      <a:pt x="1" y="6858000"/>
                    </a:lnTo>
                    <a:lnTo>
                      <a:pt x="1" y="6160597"/>
                    </a:lnTo>
                    <a:lnTo>
                      <a:pt x="1" y="622800"/>
                    </a:lnTo>
                    <a:lnTo>
                      <a:pt x="0" y="6228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FEF">
                  <a:alpha val="4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3ACE454F-CF71-414E-8FE4-F60ED1C7EFE3}"/>
                  </a:ext>
                </a:extLst>
              </p:cNvPr>
              <p:cNvGrpSpPr/>
              <p:nvPr userDrawn="1"/>
            </p:nvGrpSpPr>
            <p:grpSpPr>
              <a:xfrm>
                <a:off x="887176" y="623550"/>
                <a:ext cx="10417647" cy="5537047"/>
                <a:chOff x="887176" y="623550"/>
                <a:chExt cx="10417647" cy="5537047"/>
              </a:xfrm>
            </p:grpSpPr>
            <p:sp>
              <p:nvSpPr>
                <p:cNvPr id="61" name="Rectangle 34">
                  <a:extLst>
                    <a:ext uri="{FF2B5EF4-FFF2-40B4-BE49-F238E27FC236}">
                      <a16:creationId xmlns:a16="http://schemas.microsoft.com/office/drawing/2014/main" id="{00BB0AB4-497F-4D67-BF10-06B92CE838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6496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2" name="Rectangle 35">
                  <a:extLst>
                    <a:ext uri="{FF2B5EF4-FFF2-40B4-BE49-F238E27FC236}">
                      <a16:creationId xmlns:a16="http://schemas.microsoft.com/office/drawing/2014/main" id="{6F4BDA44-A9D6-479A-BF03-FCF7ED4A6A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99089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3" name="Rectangle 36">
                  <a:extLst>
                    <a:ext uri="{FF2B5EF4-FFF2-40B4-BE49-F238E27FC236}">
                      <a16:creationId xmlns:a16="http://schemas.microsoft.com/office/drawing/2014/main" id="{061B7CBF-0695-4857-A3D6-79C805489A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7793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4" name="Rectangle 37">
                  <a:extLst>
                    <a:ext uri="{FF2B5EF4-FFF2-40B4-BE49-F238E27FC236}">
                      <a16:creationId xmlns:a16="http://schemas.microsoft.com/office/drawing/2014/main" id="{560A30C6-9B7A-4089-ABC9-E668C7C8A6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00386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5" name="Rectangle 38">
                  <a:extLst>
                    <a:ext uri="{FF2B5EF4-FFF2-40B4-BE49-F238E27FC236}">
                      <a16:creationId xmlns:a16="http://schemas.microsoft.com/office/drawing/2014/main" id="{7B8857EC-83EF-4B93-A2FF-110FD853DF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16823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6" name="Rectangle 39">
                  <a:extLst>
                    <a:ext uri="{FF2B5EF4-FFF2-40B4-BE49-F238E27FC236}">
                      <a16:creationId xmlns:a16="http://schemas.microsoft.com/office/drawing/2014/main" id="{FCDA0ECC-B284-4FBD-8047-F4B2685A20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95200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7" name="Rectangle 40">
                  <a:extLst>
                    <a:ext uri="{FF2B5EF4-FFF2-40B4-BE49-F238E27FC236}">
                      <a16:creationId xmlns:a16="http://schemas.microsoft.com/office/drawing/2014/main" id="{1E972C28-90AF-4A55-9207-FA1278DE45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8717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8" name="Rectangle 41">
                  <a:extLst>
                    <a:ext uri="{FF2B5EF4-FFF2-40B4-BE49-F238E27FC236}">
                      <a16:creationId xmlns:a16="http://schemas.microsoft.com/office/drawing/2014/main" id="{1BA90298-5BD2-44F5-9D46-689F443A294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90014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69" name="Rectangle 42">
                  <a:extLst>
                    <a:ext uri="{FF2B5EF4-FFF2-40B4-BE49-F238E27FC236}">
                      <a16:creationId xmlns:a16="http://schemas.microsoft.com/office/drawing/2014/main" id="{8379E315-3FC0-4B04-B850-1072635F94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1310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0" name="Rectangle 43">
                  <a:extLst>
                    <a:ext uri="{FF2B5EF4-FFF2-40B4-BE49-F238E27FC236}">
                      <a16:creationId xmlns:a16="http://schemas.microsoft.com/office/drawing/2014/main" id="{406EC447-BAC1-4F8C-90F4-EAFF2D4FFC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26071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  <p:sp>
              <p:nvSpPr>
                <p:cNvPr id="71" name="Rectangle 44">
                  <a:extLst>
                    <a:ext uri="{FF2B5EF4-FFF2-40B4-BE49-F238E27FC236}">
                      <a16:creationId xmlns:a16="http://schemas.microsoft.com/office/drawing/2014/main" id="{149EB6D4-D970-491A-B65D-E647C25039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39036" y="623550"/>
                  <a:ext cx="288000" cy="5537047"/>
                </a:xfrm>
                <a:prstGeom prst="rect">
                  <a:avLst/>
                </a:prstGeom>
                <a:solidFill>
                  <a:schemeClr val="accent5">
                    <a:alpha val="1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61">
                    <a:latin typeface="+mn-lt"/>
                    <a:ea typeface="+mn-ea"/>
                    <a:cs typeface="+mn-cs"/>
                    <a:sym typeface="+mn-lt"/>
                  </a:endParaRPr>
                </a:p>
              </p:txBody>
            </p:sp>
          </p:grpSp>
          <p:sp>
            <p:nvSpPr>
              <p:cNvPr id="56" name="Slide edges">
                <a:extLst>
                  <a:ext uri="{FF2B5EF4-FFF2-40B4-BE49-F238E27FC236}">
                    <a16:creationId xmlns:a16="http://schemas.microsoft.com/office/drawing/2014/main" id="{FB567DE6-8D47-43D3-A76C-D40762E2BD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-600" y="0"/>
                <a:ext cx="12193200" cy="6858000"/>
              </a:xfrm>
              <a:custGeom>
                <a:avLst/>
                <a:gdLst>
                  <a:gd name="T0" fmla="*/ 6024 w 6026"/>
                  <a:gd name="T1" fmla="*/ 3394 h 3396"/>
                  <a:gd name="T2" fmla="*/ 6024 w 6026"/>
                  <a:gd name="T3" fmla="*/ 3391 h 3396"/>
                  <a:gd name="T4" fmla="*/ 5 w 6026"/>
                  <a:gd name="T5" fmla="*/ 3391 h 3396"/>
                  <a:gd name="T6" fmla="*/ 5 w 6026"/>
                  <a:gd name="T7" fmla="*/ 5 h 3396"/>
                  <a:gd name="T8" fmla="*/ 6021 w 6026"/>
                  <a:gd name="T9" fmla="*/ 5 h 3396"/>
                  <a:gd name="T10" fmla="*/ 6021 w 6026"/>
                  <a:gd name="T11" fmla="*/ 3394 h 3396"/>
                  <a:gd name="T12" fmla="*/ 6024 w 6026"/>
                  <a:gd name="T13" fmla="*/ 3394 h 3396"/>
                  <a:gd name="T14" fmla="*/ 6024 w 6026"/>
                  <a:gd name="T15" fmla="*/ 3391 h 3396"/>
                  <a:gd name="T16" fmla="*/ 6024 w 6026"/>
                  <a:gd name="T17" fmla="*/ 3394 h 3396"/>
                  <a:gd name="T18" fmla="*/ 6026 w 6026"/>
                  <a:gd name="T19" fmla="*/ 3394 h 3396"/>
                  <a:gd name="T20" fmla="*/ 6026 w 6026"/>
                  <a:gd name="T21" fmla="*/ 0 h 3396"/>
                  <a:gd name="T22" fmla="*/ 0 w 6026"/>
                  <a:gd name="T23" fmla="*/ 0 h 3396"/>
                  <a:gd name="T24" fmla="*/ 0 w 6026"/>
                  <a:gd name="T25" fmla="*/ 3396 h 3396"/>
                  <a:gd name="T26" fmla="*/ 6026 w 6026"/>
                  <a:gd name="T27" fmla="*/ 3396 h 3396"/>
                  <a:gd name="T28" fmla="*/ 6026 w 6026"/>
                  <a:gd name="T29" fmla="*/ 3394 h 3396"/>
                  <a:gd name="T30" fmla="*/ 6024 w 6026"/>
                  <a:gd name="T31" fmla="*/ 3394 h 3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026" h="3396">
                    <a:moveTo>
                      <a:pt x="6024" y="3394"/>
                    </a:moveTo>
                    <a:lnTo>
                      <a:pt x="6024" y="3391"/>
                    </a:lnTo>
                    <a:lnTo>
                      <a:pt x="5" y="3391"/>
                    </a:lnTo>
                    <a:lnTo>
                      <a:pt x="5" y="5"/>
                    </a:lnTo>
                    <a:lnTo>
                      <a:pt x="6021" y="5"/>
                    </a:lnTo>
                    <a:lnTo>
                      <a:pt x="6021" y="3394"/>
                    </a:lnTo>
                    <a:lnTo>
                      <a:pt x="6024" y="3394"/>
                    </a:lnTo>
                    <a:lnTo>
                      <a:pt x="6024" y="3391"/>
                    </a:lnTo>
                    <a:lnTo>
                      <a:pt x="6024" y="3394"/>
                    </a:lnTo>
                    <a:lnTo>
                      <a:pt x="6026" y="3394"/>
                    </a:lnTo>
                    <a:lnTo>
                      <a:pt x="6026" y="0"/>
                    </a:lnTo>
                    <a:lnTo>
                      <a:pt x="0" y="0"/>
                    </a:lnTo>
                    <a:lnTo>
                      <a:pt x="0" y="3396"/>
                    </a:lnTo>
                    <a:lnTo>
                      <a:pt x="6026" y="3396"/>
                    </a:lnTo>
                    <a:lnTo>
                      <a:pt x="6026" y="3394"/>
                    </a:lnTo>
                    <a:lnTo>
                      <a:pt x="6024" y="3394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912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61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7" name="Footnote measure">
                <a:extLst>
                  <a:ext uri="{FF2B5EF4-FFF2-40B4-BE49-F238E27FC236}">
                    <a16:creationId xmlns:a16="http://schemas.microsoft.com/office/drawing/2014/main" id="{4355A932-52C2-4E71-87DD-1288EDE1140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32778" y="6159600"/>
                <a:ext cx="11726443" cy="378584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8" name="Whitespace measure">
                <a:extLst>
                  <a:ext uri="{FF2B5EF4-FFF2-40B4-BE49-F238E27FC236}">
                    <a16:creationId xmlns:a16="http://schemas.microsoft.com/office/drawing/2014/main" id="{F518C206-0D43-445E-9268-C58DE554547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32778" y="1497600"/>
                <a:ext cx="11726443" cy="583200"/>
              </a:xfrm>
              <a:prstGeom prst="rect">
                <a:avLst/>
              </a:prstGeom>
              <a:solidFill>
                <a:schemeClr val="accent3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61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59" name="Live area">
                <a:extLst>
                  <a:ext uri="{FF2B5EF4-FFF2-40B4-BE49-F238E27FC236}">
                    <a16:creationId xmlns:a16="http://schemas.microsoft.com/office/drawing/2014/main" id="{E2EA580D-FE70-4DC6-A87A-5B9CA6418BEB}"/>
                  </a:ext>
                </a:extLst>
              </p:cNvPr>
              <p:cNvSpPr/>
              <p:nvPr userDrawn="1"/>
            </p:nvSpPr>
            <p:spPr>
              <a:xfrm>
                <a:off x="232778" y="2080801"/>
                <a:ext cx="11726443" cy="4078800"/>
              </a:xfrm>
              <a:custGeom>
                <a:avLst/>
                <a:gdLst>
                  <a:gd name="connsiteX0" fmla="*/ 0 w 10931999"/>
                  <a:gd name="connsiteY0" fmla="*/ 0 h 5537797"/>
                  <a:gd name="connsiteX1" fmla="*/ 10931999 w 10931999"/>
                  <a:gd name="connsiteY1" fmla="*/ 0 h 5537797"/>
                  <a:gd name="connsiteX2" fmla="*/ 10931999 w 10931999"/>
                  <a:gd name="connsiteY2" fmla="*/ 5537797 h 5537797"/>
                  <a:gd name="connsiteX3" fmla="*/ 0 w 10931999"/>
                  <a:gd name="connsiteY3" fmla="*/ 5537797 h 55377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931999" h="5537797">
                    <a:moveTo>
                      <a:pt x="0" y="0"/>
                    </a:moveTo>
                    <a:lnTo>
                      <a:pt x="10931999" y="0"/>
                    </a:lnTo>
                    <a:lnTo>
                      <a:pt x="10931999" y="5537797"/>
                    </a:lnTo>
                    <a:lnTo>
                      <a:pt x="0" y="5537797"/>
                    </a:lnTo>
                    <a:close/>
                  </a:path>
                </a:pathLst>
              </a:custGeom>
              <a:noFill/>
              <a:ln w="9525">
                <a:solidFill>
                  <a:srgbClr val="E71C57">
                    <a:alpha val="35000"/>
                  </a:srgbClr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>
                  <a:lnSpc>
                    <a:spcPct val="90000"/>
                  </a:lnSpc>
                  <a:spcAft>
                    <a:spcPts val="756"/>
                  </a:spcAft>
                </a:pPr>
                <a:endParaRPr lang="en-US" sz="907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0" name="Footnote example">
                <a:extLst>
                  <a:ext uri="{FF2B5EF4-FFF2-40B4-BE49-F238E27FC236}">
                    <a16:creationId xmlns:a16="http://schemas.microsoft.com/office/drawing/2014/main" id="{CB68A8E3-A33F-4C92-8130-B302D98F3EDF}"/>
                  </a:ext>
                </a:extLst>
              </p:cNvPr>
              <p:cNvSpPr txBox="1"/>
              <p:nvPr userDrawn="1"/>
            </p:nvSpPr>
            <p:spPr>
              <a:xfrm>
                <a:off x="232778" y="6144441"/>
                <a:ext cx="9030914" cy="415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1. xxxx  2. xxxx  3. List footnotes in numerical order. Footnote numbers are not bracketed. Use 10pt font</a:t>
                </a:r>
              </a:p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Note: Do not put a period at the end of the note or the source</a:t>
                </a:r>
              </a:p>
              <a:p>
                <a:pPr marL="0" marR="0" lvl="0" indent="0" algn="l" defTabSz="691286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56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  <a:sym typeface="+mn-lt"/>
                  </a:rPr>
                  <a:t>Source: Include a source for every chart that you use. Separate sources with a semicolon; BCG-related sources go at the end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7737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A80C3C-13F4-4554-949C-4C6887EE3D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84094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A80C3C-13F4-4554-949C-4C6887EE3D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AEC3DA-8DB8-4EF8-AC56-4724A11AAB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6273" y="2893132"/>
            <a:ext cx="8268107" cy="1543185"/>
          </a:xfrm>
        </p:spPr>
        <p:txBody>
          <a:bodyPr anchor="t">
            <a:noAutofit/>
          </a:bodyPr>
          <a:lstStyle>
            <a:lvl1pPr>
              <a:defRPr sz="4082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7881" y="2782160"/>
            <a:ext cx="8751565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7A772D2-6CBD-482A-894E-EF5055A3BCE6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54079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6685063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9424" y="3546624"/>
            <a:ext cx="702569" cy="75289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12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1897142" y="3546624"/>
            <a:ext cx="1187019" cy="1109968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8255" tIns="136078" rIns="138255" bIns="1382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7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6273" y="685859"/>
            <a:ext cx="2607257" cy="92260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462666" tIns="35380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4"/>
              </a:spcAft>
            </a:pPr>
            <a:endParaRPr lang="en-US" sz="4082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552371" y="843275"/>
            <a:ext cx="2454519" cy="6890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82" b="1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2267A45-E14C-44EA-9791-97DDE4BA205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2463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4436561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71252" y="1079693"/>
            <a:ext cx="716430" cy="71645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71598" y="2016755"/>
            <a:ext cx="7272015" cy="241956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12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EB6172B-FFF5-41BF-9408-65702617DEB1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56264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376558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 hidden="1"/>
          <p:cNvSpPr txBox="1"/>
          <p:nvPr userDrawn="1"/>
        </p:nvSpPr>
        <p:spPr bwMode="white">
          <a:xfrm>
            <a:off x="8442795" y="4841873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476273" y="470849"/>
            <a:ext cx="5435564" cy="3559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70" b="1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7881" y="911758"/>
            <a:ext cx="8751565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EF2859E-12BE-432E-ABDC-7F4F5637537D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8977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8882048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75289" y="0"/>
            <a:ext cx="315211" cy="51847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85015" y="-989"/>
            <a:ext cx="6132011" cy="51857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476273" y="2425092"/>
            <a:ext cx="1367132" cy="3350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4"/>
              </a:spcAft>
            </a:pPr>
            <a:r>
              <a:rPr lang="en-US" sz="2419" b="1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B75D4A-83EB-4153-961B-C2219CFB246A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80553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465800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049424" y="3546624"/>
            <a:ext cx="702569" cy="752899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1512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1897142" y="3546624"/>
            <a:ext cx="1187019" cy="1109968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8255" tIns="136078" rIns="138255" bIns="13825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907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6273" y="685858"/>
            <a:ext cx="2607257" cy="92260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462666" tIns="353803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4"/>
              </a:spcAft>
            </a:pPr>
            <a:endParaRPr lang="en-US" sz="4082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677404" y="843276"/>
            <a:ext cx="2204451" cy="6229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3629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89531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0459159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971252" y="1079693"/>
            <a:ext cx="716430" cy="716458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71598" y="2016755"/>
            <a:ext cx="7272015" cy="241956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512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95934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2049933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476273" y="470849"/>
            <a:ext cx="5435564" cy="3559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570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7881" y="911758"/>
            <a:ext cx="8751565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645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2537201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75289" y="0"/>
            <a:ext cx="315211" cy="5184775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85015" y="-989"/>
            <a:ext cx="6132011" cy="5185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76274" y="2466242"/>
            <a:ext cx="1043096" cy="2512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4"/>
              </a:spcAft>
            </a:pPr>
            <a:r>
              <a:rPr lang="en-US" sz="1814" b="1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C5ACCB-C472-41C8-A9EC-37EC482945CF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335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156225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476272" y="2091676"/>
            <a:ext cx="2368044" cy="104650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529"/>
              </a:spcAft>
              <a:buFontTx/>
              <a:buNone/>
            </a:pPr>
            <a:r>
              <a:rPr lang="en-US" sz="3326" b="1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9" name="TextBox 18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0098" y="2711648"/>
            <a:ext cx="1032115" cy="255758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73FF010-FE9D-460E-8F10-1DC22430AD5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806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6804387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7" progId="TCLayout.ActiveDocument.1">
                  <p:embed/>
                </p:oleObj>
              </mc:Choice>
              <mc:Fallback>
                <p:oleObj name="think-cell Slide" r:id="rId5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3808F0-9E64-4A51-B0B9-32246F6573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79AD7E-3149-4D96-9244-47A4E8251261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BC1BE53-8605-45FA-9B96-1F453A512F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11424" b="5044"/>
          <a:stretch/>
        </p:blipFill>
        <p:spPr>
          <a:xfrm>
            <a:off x="167059" y="973585"/>
            <a:ext cx="8882908" cy="4032603"/>
          </a:xfrm>
          <a:prstGeom prst="rect">
            <a:avLst/>
          </a:prstGeom>
        </p:spPr>
      </p:pic>
      <p:sp>
        <p:nvSpPr>
          <p:cNvPr id="10" name="GradientOverlay">
            <a:extLst>
              <a:ext uri="{FF2B5EF4-FFF2-40B4-BE49-F238E27FC236}">
                <a16:creationId xmlns:a16="http://schemas.microsoft.com/office/drawing/2014/main" id="{31729085-BA82-4730-92E8-8F5CE892E9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67059" y="973585"/>
            <a:ext cx="8882908" cy="4032603"/>
          </a:xfrm>
          <a:prstGeom prst="rect">
            <a:avLst/>
          </a:prstGeom>
          <a:solidFill>
            <a:srgbClr val="000000">
              <a:alpha val="55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912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6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5913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3D8CED9-6B7C-4A74-94EF-EE5F2F24E2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2108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3D8CED9-6B7C-4A74-94EF-EE5F2F24E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73093" y="0"/>
            <a:ext cx="315211" cy="5184775"/>
          </a:xfrm>
          <a:prstGeom prst="rect">
            <a:avLst/>
          </a:prstGeom>
        </p:spPr>
      </p:pic>
      <p:sp>
        <p:nvSpPr>
          <p:cNvPr id="20" name="TextBox 19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84066" cy="5184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6274" y="2026964"/>
            <a:ext cx="2364645" cy="11308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19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D4E721-6E7C-4948-A4D5-02D85B94525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040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847279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9102104-46F6-4D52-9C0C-A540D9A7D5B5}"/>
              </a:ext>
            </a:extLst>
          </p:cNvPr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66756" y="176776"/>
            <a:ext cx="8883514" cy="483122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FF2F7F-276D-4C2B-A9A8-E830EAFF94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287" y="3257120"/>
            <a:ext cx="8260451" cy="565424"/>
          </a:xfrm>
        </p:spPr>
        <p:txBody>
          <a:bodyPr/>
          <a:lstStyle>
            <a:lvl1pPr>
              <a:defRPr sz="4082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15776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011403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7" progId="TCLayout.ActiveDocument.1">
                  <p:embed/>
                </p:oleObj>
              </mc:Choice>
              <mc:Fallback>
                <p:oleObj name="think-cell Slide" r:id="rId5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657B336-E859-4457-90A4-A53C6D2C460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217025" cy="5184775"/>
          </a:xfrm>
          <a:prstGeom prst="rect">
            <a:avLst/>
          </a:prstGeom>
        </p:spPr>
      </p:pic>
      <p:sp>
        <p:nvSpPr>
          <p:cNvPr id="16" name="GradientOverlay">
            <a:extLst>
              <a:ext uri="{FF2B5EF4-FFF2-40B4-BE49-F238E27FC236}">
                <a16:creationId xmlns:a16="http://schemas.microsoft.com/office/drawing/2014/main" id="{591B6E36-2415-44D2-8FB7-769F0ADCFB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365" y="0"/>
            <a:ext cx="9214295" cy="5184775"/>
          </a:xfrm>
          <a:prstGeom prst="rect">
            <a:avLst/>
          </a:prstGeom>
          <a:solidFill>
            <a:srgbClr val="000000">
              <a:alpha val="45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912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756"/>
              </a:spcAft>
              <a:buClrTx/>
              <a:buSzTx/>
              <a:buFontTx/>
              <a:buNone/>
              <a:tabLst/>
              <a:defRPr/>
            </a:pPr>
            <a:endParaRPr kumimoji="0" lang="en-US" sz="1361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26B2E26-C65A-428A-998D-D68D61105F5B}"/>
              </a:ext>
            </a:extLst>
          </p:cNvPr>
          <p:cNvGrpSpPr/>
          <p:nvPr userDrawn="1"/>
        </p:nvGrpSpPr>
        <p:grpSpPr>
          <a:xfrm>
            <a:off x="0" y="0"/>
            <a:ext cx="9217025" cy="5184775"/>
            <a:chOff x="0" y="0"/>
            <a:chExt cx="12192000" cy="68580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AE30E9B-597C-45BB-BA2A-0D3BCD7F0FB9}"/>
                </a:ext>
              </a:extLst>
            </p:cNvPr>
            <p:cNvSpPr/>
            <p:nvPr/>
          </p:nvSpPr>
          <p:spPr>
            <a:xfrm>
              <a:off x="0" y="0"/>
              <a:ext cx="220578" cy="6858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5F8A2-1395-4B36-859A-024FD0665171}"/>
                </a:ext>
              </a:extLst>
            </p:cNvPr>
            <p:cNvSpPr/>
            <p:nvPr/>
          </p:nvSpPr>
          <p:spPr>
            <a:xfrm>
              <a:off x="11971421" y="0"/>
              <a:ext cx="220578" cy="6858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7454C65-F391-425D-AAF2-45D6B3171010}"/>
                </a:ext>
              </a:extLst>
            </p:cNvPr>
            <p:cNvSpPr/>
            <p:nvPr/>
          </p:nvSpPr>
          <p:spPr>
            <a:xfrm rot="16200000">
              <a:off x="5979088" y="-5979088"/>
              <a:ext cx="233824" cy="12192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53B6286-408D-4DA5-BE46-898AD2942963}"/>
                </a:ext>
              </a:extLst>
            </p:cNvPr>
            <p:cNvSpPr/>
            <p:nvPr/>
          </p:nvSpPr>
          <p:spPr>
            <a:xfrm rot="16200000">
              <a:off x="5979088" y="645088"/>
              <a:ext cx="233824" cy="12192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FF2F7F-276D-4C2B-A9A8-E830EAFF94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287" y="3681777"/>
            <a:ext cx="8260451" cy="1130848"/>
          </a:xfrm>
        </p:spPr>
        <p:txBody>
          <a:bodyPr/>
          <a:lstStyle>
            <a:lvl1pPr algn="r">
              <a:defRPr sz="4082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87195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470989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B9E74FE-D29C-4657-8F92-4CD73A0E992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217025" cy="5184775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8FF7F780-DCF4-48D5-9372-0D0CA6ECED94}"/>
              </a:ext>
            </a:extLst>
          </p:cNvPr>
          <p:cNvGrpSpPr/>
          <p:nvPr userDrawn="1"/>
        </p:nvGrpSpPr>
        <p:grpSpPr>
          <a:xfrm>
            <a:off x="0" y="0"/>
            <a:ext cx="9217025" cy="5184775"/>
            <a:chOff x="0" y="0"/>
            <a:chExt cx="12192000" cy="685800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51009AB-2B25-44CC-ACEA-3780E2849F57}"/>
                </a:ext>
              </a:extLst>
            </p:cNvPr>
            <p:cNvSpPr/>
            <p:nvPr/>
          </p:nvSpPr>
          <p:spPr>
            <a:xfrm>
              <a:off x="0" y="0"/>
              <a:ext cx="220578" cy="6858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C53D5C0-7715-41E3-84C6-2228CC20CE75}"/>
                </a:ext>
              </a:extLst>
            </p:cNvPr>
            <p:cNvSpPr/>
            <p:nvPr/>
          </p:nvSpPr>
          <p:spPr>
            <a:xfrm>
              <a:off x="11971421" y="0"/>
              <a:ext cx="220578" cy="6858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322B5E2-9CCD-49AE-8A79-2F3B7AF847EE}"/>
                </a:ext>
              </a:extLst>
            </p:cNvPr>
            <p:cNvSpPr/>
            <p:nvPr/>
          </p:nvSpPr>
          <p:spPr>
            <a:xfrm rot="16200000">
              <a:off x="5979088" y="-5979088"/>
              <a:ext cx="233824" cy="12192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C34B11E-67AE-4AF6-B866-4525073A2E28}"/>
                </a:ext>
              </a:extLst>
            </p:cNvPr>
            <p:cNvSpPr/>
            <p:nvPr/>
          </p:nvSpPr>
          <p:spPr>
            <a:xfrm rot="16200000">
              <a:off x="5979088" y="645088"/>
              <a:ext cx="233824" cy="12192000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9128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FF2F7F-276D-4C2B-A9A8-E830EAFF94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8021" y="2152614"/>
            <a:ext cx="3527761" cy="879548"/>
          </a:xfrm>
        </p:spPr>
        <p:txBody>
          <a:bodyPr/>
          <a:lstStyle>
            <a:lvl1pPr algn="l">
              <a:defRPr sz="211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46513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1_Title Slid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2"/>
          <p:cNvSpPr txBox="1">
            <a:spLocks noGrp="1"/>
          </p:cNvSpPr>
          <p:nvPr>
            <p:ph type="body" idx="1"/>
          </p:nvPr>
        </p:nvSpPr>
        <p:spPr>
          <a:xfrm>
            <a:off x="2095776" y="4693243"/>
            <a:ext cx="6105955" cy="247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45643" lvl="0" indent="-172822" algn="ctr">
              <a:lnSpc>
                <a:spcPct val="110000"/>
              </a:lnSpc>
              <a:spcBef>
                <a:spcPts val="454"/>
              </a:spcBef>
              <a:spcAft>
                <a:spcPts val="0"/>
              </a:spcAft>
              <a:buSzPts val="1600"/>
              <a:buNone/>
              <a:defRPr sz="1210" b="1" cap="none">
                <a:solidFill>
                  <a:srgbClr val="00ABCC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691286" lvl="1" indent="-172822" algn="ctr">
              <a:lnSpc>
                <a:spcPct val="90000"/>
              </a:lnSpc>
              <a:spcBef>
                <a:spcPts val="227"/>
              </a:spcBef>
              <a:spcAft>
                <a:spcPts val="0"/>
              </a:spcAft>
              <a:buSzPts val="1200"/>
              <a:buNone/>
              <a:defRPr/>
            </a:lvl2pPr>
            <a:lvl3pPr marL="1036930" lvl="2" indent="-172822" algn="ctr">
              <a:lnSpc>
                <a:spcPct val="90000"/>
              </a:lnSpc>
              <a:spcBef>
                <a:spcPts val="227"/>
              </a:spcBef>
              <a:spcAft>
                <a:spcPts val="0"/>
              </a:spcAft>
              <a:buSzPts val="1200"/>
              <a:buNone/>
              <a:defRPr/>
            </a:lvl3pPr>
            <a:lvl4pPr marL="1382573" lvl="3" indent="-172822" algn="ctr">
              <a:lnSpc>
                <a:spcPct val="110000"/>
              </a:lnSpc>
              <a:spcBef>
                <a:spcPts val="227"/>
              </a:spcBef>
              <a:spcAft>
                <a:spcPts val="0"/>
              </a:spcAft>
              <a:buSzPts val="1600"/>
              <a:buNone/>
              <a:defRPr/>
            </a:lvl4pPr>
            <a:lvl5pPr marL="1728216" lvl="4" indent="-172822" algn="ctr">
              <a:lnSpc>
                <a:spcPct val="100000"/>
              </a:lnSpc>
              <a:spcBef>
                <a:spcPts val="227"/>
              </a:spcBef>
              <a:spcAft>
                <a:spcPts val="0"/>
              </a:spcAft>
              <a:buSzPts val="1600"/>
              <a:buNone/>
              <a:defRPr/>
            </a:lvl5pPr>
            <a:lvl6pPr marL="2073859" lvl="5" indent="-259232" algn="l">
              <a:lnSpc>
                <a:spcPct val="90000"/>
              </a:lnSpc>
              <a:spcBef>
                <a:spcPts val="227"/>
              </a:spcBef>
              <a:spcAft>
                <a:spcPts val="0"/>
              </a:spcAft>
              <a:buSzPts val="1800"/>
              <a:buChar char="•"/>
              <a:defRPr/>
            </a:lvl6pPr>
            <a:lvl7pPr marL="2419502" lvl="6" indent="-259232" algn="l">
              <a:lnSpc>
                <a:spcPct val="90000"/>
              </a:lnSpc>
              <a:spcBef>
                <a:spcPts val="680"/>
              </a:spcBef>
              <a:spcAft>
                <a:spcPts val="0"/>
              </a:spcAft>
              <a:buSzPts val="1800"/>
              <a:buChar char="​"/>
              <a:defRPr/>
            </a:lvl7pPr>
            <a:lvl8pPr marL="2765146" lvl="7" indent="-259232" algn="l">
              <a:lnSpc>
                <a:spcPct val="90000"/>
              </a:lnSpc>
              <a:spcBef>
                <a:spcPts val="680"/>
              </a:spcBef>
              <a:spcAft>
                <a:spcPts val="0"/>
              </a:spcAft>
              <a:buSzPts val="1800"/>
              <a:buChar char="​"/>
              <a:defRPr/>
            </a:lvl8pPr>
            <a:lvl9pPr marL="3110789" lvl="8" indent="-259232" algn="l">
              <a:lnSpc>
                <a:spcPct val="100000"/>
              </a:lnSpc>
              <a:spcBef>
                <a:spcPts val="0"/>
              </a:spcBef>
              <a:spcAft>
                <a:spcPts val="680"/>
              </a:spcAft>
              <a:buSzPts val="1800"/>
              <a:buChar char="​"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subTitle" idx="2"/>
          </p:nvPr>
        </p:nvSpPr>
        <p:spPr>
          <a:xfrm>
            <a:off x="2095776" y="4234925"/>
            <a:ext cx="6105955" cy="329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10000"/>
              </a:lnSpc>
              <a:spcBef>
                <a:spcPts val="454"/>
              </a:spcBef>
              <a:spcAft>
                <a:spcPts val="0"/>
              </a:spcAft>
              <a:buSzPts val="2000"/>
              <a:buNone/>
              <a:defRPr sz="1512">
                <a:solidFill>
                  <a:srgbClr val="00ABCC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ctr">
              <a:lnSpc>
                <a:spcPct val="90000"/>
              </a:lnSpc>
              <a:spcBef>
                <a:spcPts val="227"/>
              </a:spcBef>
              <a:spcAft>
                <a:spcPts val="0"/>
              </a:spcAft>
              <a:buSzPts val="2000"/>
              <a:buNone/>
              <a:defRPr sz="1512"/>
            </a:lvl2pPr>
            <a:lvl3pPr lvl="2" algn="ctr">
              <a:lnSpc>
                <a:spcPct val="90000"/>
              </a:lnSpc>
              <a:spcBef>
                <a:spcPts val="227"/>
              </a:spcBef>
              <a:spcAft>
                <a:spcPts val="0"/>
              </a:spcAft>
              <a:buSzPts val="1800"/>
              <a:buNone/>
              <a:defRPr sz="1361"/>
            </a:lvl3pPr>
            <a:lvl4pPr lvl="3" algn="ctr">
              <a:lnSpc>
                <a:spcPct val="110000"/>
              </a:lnSpc>
              <a:spcBef>
                <a:spcPts val="227"/>
              </a:spcBef>
              <a:spcAft>
                <a:spcPts val="0"/>
              </a:spcAft>
              <a:buSzPts val="1600"/>
              <a:buNone/>
              <a:defRPr sz="1210"/>
            </a:lvl4pPr>
            <a:lvl5pPr lvl="4" algn="ctr">
              <a:lnSpc>
                <a:spcPct val="100000"/>
              </a:lnSpc>
              <a:spcBef>
                <a:spcPts val="227"/>
              </a:spcBef>
              <a:spcAft>
                <a:spcPts val="0"/>
              </a:spcAft>
              <a:buSzPts val="1600"/>
              <a:buNone/>
              <a:defRPr sz="1210"/>
            </a:lvl5pPr>
            <a:lvl6pPr lvl="5" algn="ctr">
              <a:lnSpc>
                <a:spcPct val="90000"/>
              </a:lnSpc>
              <a:spcBef>
                <a:spcPts val="227"/>
              </a:spcBef>
              <a:spcAft>
                <a:spcPts val="0"/>
              </a:spcAft>
              <a:buSzPts val="1600"/>
              <a:buNone/>
              <a:defRPr sz="1210"/>
            </a:lvl6pPr>
            <a:lvl7pPr lvl="6" algn="ctr">
              <a:lnSpc>
                <a:spcPct val="90000"/>
              </a:lnSpc>
              <a:spcBef>
                <a:spcPts val="680"/>
              </a:spcBef>
              <a:spcAft>
                <a:spcPts val="0"/>
              </a:spcAft>
              <a:buSzPts val="1600"/>
              <a:buNone/>
              <a:defRPr sz="1210"/>
            </a:lvl7pPr>
            <a:lvl8pPr lvl="7" algn="ctr">
              <a:lnSpc>
                <a:spcPct val="90000"/>
              </a:lnSpc>
              <a:spcBef>
                <a:spcPts val="680"/>
              </a:spcBef>
              <a:spcAft>
                <a:spcPts val="0"/>
              </a:spcAft>
              <a:buSzPts val="1600"/>
              <a:buNone/>
              <a:defRPr sz="121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680"/>
              </a:spcAft>
              <a:buSzPts val="1600"/>
              <a:buNone/>
              <a:defRPr sz="1210"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ctrTitle"/>
          </p:nvPr>
        </p:nvSpPr>
        <p:spPr>
          <a:xfrm>
            <a:off x="2095776" y="1733672"/>
            <a:ext cx="6105955" cy="23727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ABCC"/>
              </a:buClr>
              <a:buSzPts val="7200"/>
              <a:buFont typeface="Arial"/>
              <a:buNone/>
              <a:defRPr sz="5443">
                <a:solidFill>
                  <a:srgbClr val="00ABCC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48698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 + Heading + Subheading 2">
  <p:cSld name="3_Title Slide + Heading + Subheading 2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12"/>
          <p:cNvSpPr txBox="1">
            <a:spLocks noGrp="1"/>
          </p:cNvSpPr>
          <p:nvPr>
            <p:ph type="subTitle" idx="1"/>
          </p:nvPr>
        </p:nvSpPr>
        <p:spPr>
          <a:xfrm>
            <a:off x="264496" y="4676705"/>
            <a:ext cx="2625098" cy="274586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21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2"/>
          <p:cNvSpPr txBox="1">
            <a:spLocks noGrp="1"/>
          </p:cNvSpPr>
          <p:nvPr>
            <p:ph type="title"/>
          </p:nvPr>
        </p:nvSpPr>
        <p:spPr>
          <a:xfrm>
            <a:off x="4608412" y="3084555"/>
            <a:ext cx="4623935" cy="66045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171450" tIns="91425" rIns="414675" bIns="91425" anchor="b" anchorCtr="0">
            <a:noAutofit/>
          </a:bodyPr>
          <a:lstStyle>
            <a:lvl1pPr lvl="0" rtl="0">
              <a:lnSpc>
                <a:spcPct val="80000"/>
              </a:lnSpc>
              <a:spcBef>
                <a:spcPts val="151"/>
              </a:spcBef>
              <a:spcAft>
                <a:spcPts val="0"/>
              </a:spcAft>
              <a:buNone/>
              <a:defRPr sz="2722" b="1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12"/>
          <p:cNvSpPr txBox="1">
            <a:spLocks noGrp="1"/>
          </p:cNvSpPr>
          <p:nvPr>
            <p:ph type="subTitle" idx="2"/>
          </p:nvPr>
        </p:nvSpPr>
        <p:spPr>
          <a:xfrm>
            <a:off x="7229907" y="4723654"/>
            <a:ext cx="1724563" cy="274586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None/>
              <a:defRPr sz="706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706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706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706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706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706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706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706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706"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subTitle" idx="3"/>
          </p:nvPr>
        </p:nvSpPr>
        <p:spPr>
          <a:xfrm>
            <a:off x="4608412" y="3656080"/>
            <a:ext cx="4623935" cy="472663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171450" tIns="91425" rIns="418300" bIns="91425" anchor="t" anchorCtr="0">
            <a:noAutofit/>
          </a:bodyPr>
          <a:lstStyle>
            <a:lvl1pPr lvl="0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462"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56519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128952" y="5256683"/>
            <a:ext cx="1440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3. April 201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07144" y="5256699"/>
            <a:ext cx="4896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WWF Präsentation | Titel | Anlas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640960" y="5256699"/>
            <a:ext cx="360000" cy="144000"/>
          </a:xfrm>
          <a:prstGeom prst="rect">
            <a:avLst/>
          </a:prstGeom>
        </p:spPr>
        <p:txBody>
          <a:bodyPr/>
          <a:lstStyle/>
          <a:p>
            <a:fld id="{E475C7B0-62B8-48D9-B834-62EC2DD669EA}" type="slidenum">
              <a:rPr lang="de-DE" smtClean="0"/>
              <a:t>‹#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217025" cy="5184775"/>
          </a:xfrm>
          <a:custGeom>
            <a:avLst/>
            <a:gdLst/>
            <a:ahLst/>
            <a:cxnLst/>
            <a:rect l="l" t="t" r="r" b="b"/>
            <a:pathLst>
              <a:path w="9217025" h="5184775">
                <a:moveTo>
                  <a:pt x="432048" y="432147"/>
                </a:moveTo>
                <a:lnTo>
                  <a:pt x="432048" y="1368147"/>
                </a:lnTo>
                <a:lnTo>
                  <a:pt x="1260048" y="1368147"/>
                </a:lnTo>
                <a:lnTo>
                  <a:pt x="1260048" y="432147"/>
                </a:lnTo>
                <a:close/>
                <a:moveTo>
                  <a:pt x="0" y="0"/>
                </a:moveTo>
                <a:lnTo>
                  <a:pt x="9217025" y="0"/>
                </a:lnTo>
                <a:lnTo>
                  <a:pt x="9217025" y="5184775"/>
                </a:lnTo>
                <a:lnTo>
                  <a:pt x="0" y="5184775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440000" tIns="1872000" rIns="1440000"/>
          <a:lstStyle>
            <a:lvl1pPr marL="0" indent="0" algn="ctr">
              <a:buNone/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32600" y="3096443"/>
            <a:ext cx="5400000" cy="1656000"/>
          </a:xfrm>
          <a:custGeom>
            <a:avLst/>
            <a:gdLst>
              <a:gd name="connsiteX0" fmla="*/ 0 w 4680000"/>
              <a:gd name="connsiteY0" fmla="*/ 0 h 4104000"/>
              <a:gd name="connsiteX1" fmla="*/ 4680000 w 4680000"/>
              <a:gd name="connsiteY1" fmla="*/ 0 h 4104000"/>
              <a:gd name="connsiteX2" fmla="*/ 4680000 w 4680000"/>
              <a:gd name="connsiteY2" fmla="*/ 0 h 4104000"/>
              <a:gd name="connsiteX3" fmla="*/ 4680000 w 4680000"/>
              <a:gd name="connsiteY3" fmla="*/ 4104000 h 4104000"/>
              <a:gd name="connsiteX4" fmla="*/ 0 w 4680000"/>
              <a:gd name="connsiteY4" fmla="*/ 4104000 h 4104000"/>
              <a:gd name="connsiteX5" fmla="*/ 0 w 4680000"/>
              <a:gd name="connsiteY5" fmla="*/ 0 h 4104000"/>
              <a:gd name="connsiteX0" fmla="*/ 0 w 4680000"/>
              <a:gd name="connsiteY0" fmla="*/ 905 h 4104905"/>
              <a:gd name="connsiteX1" fmla="*/ 1514198 w 4680000"/>
              <a:gd name="connsiteY1" fmla="*/ 0 h 4104905"/>
              <a:gd name="connsiteX2" fmla="*/ 4680000 w 4680000"/>
              <a:gd name="connsiteY2" fmla="*/ 905 h 4104905"/>
              <a:gd name="connsiteX3" fmla="*/ 4680000 w 4680000"/>
              <a:gd name="connsiteY3" fmla="*/ 905 h 4104905"/>
              <a:gd name="connsiteX4" fmla="*/ 4680000 w 4680000"/>
              <a:gd name="connsiteY4" fmla="*/ 4104905 h 4104905"/>
              <a:gd name="connsiteX5" fmla="*/ 0 w 4680000"/>
              <a:gd name="connsiteY5" fmla="*/ 4104905 h 4104905"/>
              <a:gd name="connsiteX6" fmla="*/ 0 w 4680000"/>
              <a:gd name="connsiteY6" fmla="*/ 905 h 4104905"/>
              <a:gd name="connsiteX0" fmla="*/ 0 w 4680000"/>
              <a:gd name="connsiteY0" fmla="*/ 905 h 4104905"/>
              <a:gd name="connsiteX1" fmla="*/ 1514198 w 4680000"/>
              <a:gd name="connsiteY1" fmla="*/ 0 h 4104905"/>
              <a:gd name="connsiteX2" fmla="*/ 4680000 w 4680000"/>
              <a:gd name="connsiteY2" fmla="*/ 905 h 4104905"/>
              <a:gd name="connsiteX3" fmla="*/ 4680000 w 4680000"/>
              <a:gd name="connsiteY3" fmla="*/ 905 h 4104905"/>
              <a:gd name="connsiteX4" fmla="*/ 4680000 w 4680000"/>
              <a:gd name="connsiteY4" fmla="*/ 4104905 h 4104905"/>
              <a:gd name="connsiteX5" fmla="*/ 0 w 4680000"/>
              <a:gd name="connsiteY5" fmla="*/ 4104905 h 4104905"/>
              <a:gd name="connsiteX6" fmla="*/ 0 w 4680000"/>
              <a:gd name="connsiteY6" fmla="*/ 905 h 4104905"/>
              <a:gd name="connsiteX0" fmla="*/ 0 w 4680000"/>
              <a:gd name="connsiteY0" fmla="*/ 905 h 4104905"/>
              <a:gd name="connsiteX1" fmla="*/ 1079093 w 4680000"/>
              <a:gd name="connsiteY1" fmla="*/ 1 h 4104905"/>
              <a:gd name="connsiteX2" fmla="*/ 1514198 w 4680000"/>
              <a:gd name="connsiteY2" fmla="*/ 0 h 4104905"/>
              <a:gd name="connsiteX3" fmla="*/ 4680000 w 4680000"/>
              <a:gd name="connsiteY3" fmla="*/ 905 h 4104905"/>
              <a:gd name="connsiteX4" fmla="*/ 4680000 w 4680000"/>
              <a:gd name="connsiteY4" fmla="*/ 905 h 4104905"/>
              <a:gd name="connsiteX5" fmla="*/ 4680000 w 4680000"/>
              <a:gd name="connsiteY5" fmla="*/ 4104905 h 4104905"/>
              <a:gd name="connsiteX6" fmla="*/ 0 w 4680000"/>
              <a:gd name="connsiteY6" fmla="*/ 4104905 h 4104905"/>
              <a:gd name="connsiteX7" fmla="*/ 0 w 4680000"/>
              <a:gd name="connsiteY7" fmla="*/ 905 h 4104905"/>
              <a:gd name="connsiteX0" fmla="*/ 0 w 4680000"/>
              <a:gd name="connsiteY0" fmla="*/ 905 h 4104905"/>
              <a:gd name="connsiteX1" fmla="*/ 1531194 w 4680000"/>
              <a:gd name="connsiteY1" fmla="*/ 1097960 h 4104905"/>
              <a:gd name="connsiteX2" fmla="*/ 1514198 w 4680000"/>
              <a:gd name="connsiteY2" fmla="*/ 0 h 4104905"/>
              <a:gd name="connsiteX3" fmla="*/ 4680000 w 4680000"/>
              <a:gd name="connsiteY3" fmla="*/ 905 h 4104905"/>
              <a:gd name="connsiteX4" fmla="*/ 4680000 w 4680000"/>
              <a:gd name="connsiteY4" fmla="*/ 905 h 4104905"/>
              <a:gd name="connsiteX5" fmla="*/ 4680000 w 4680000"/>
              <a:gd name="connsiteY5" fmla="*/ 4104905 h 4104905"/>
              <a:gd name="connsiteX6" fmla="*/ 0 w 4680000"/>
              <a:gd name="connsiteY6" fmla="*/ 4104905 h 4104905"/>
              <a:gd name="connsiteX7" fmla="*/ 0 w 4680000"/>
              <a:gd name="connsiteY7" fmla="*/ 905 h 4104905"/>
              <a:gd name="connsiteX0" fmla="*/ 0 w 4680000"/>
              <a:gd name="connsiteY0" fmla="*/ 905 h 4104905"/>
              <a:gd name="connsiteX1" fmla="*/ 810551 w 4680000"/>
              <a:gd name="connsiteY1" fmla="*/ 581273 h 4104905"/>
              <a:gd name="connsiteX2" fmla="*/ 1531194 w 4680000"/>
              <a:gd name="connsiteY2" fmla="*/ 1097960 h 4104905"/>
              <a:gd name="connsiteX3" fmla="*/ 1514198 w 4680000"/>
              <a:gd name="connsiteY3" fmla="*/ 0 h 4104905"/>
              <a:gd name="connsiteX4" fmla="*/ 4680000 w 4680000"/>
              <a:gd name="connsiteY4" fmla="*/ 905 h 4104905"/>
              <a:gd name="connsiteX5" fmla="*/ 4680000 w 4680000"/>
              <a:gd name="connsiteY5" fmla="*/ 905 h 4104905"/>
              <a:gd name="connsiteX6" fmla="*/ 4680000 w 4680000"/>
              <a:gd name="connsiteY6" fmla="*/ 4104905 h 4104905"/>
              <a:gd name="connsiteX7" fmla="*/ 0 w 4680000"/>
              <a:gd name="connsiteY7" fmla="*/ 4104905 h 4104905"/>
              <a:gd name="connsiteX8" fmla="*/ 0 w 4680000"/>
              <a:gd name="connsiteY8" fmla="*/ 905 h 4104905"/>
              <a:gd name="connsiteX0" fmla="*/ 0 w 4680000"/>
              <a:gd name="connsiteY0" fmla="*/ 905 h 4104905"/>
              <a:gd name="connsiteX1" fmla="*/ 807152 w 4680000"/>
              <a:gd name="connsiteY1" fmla="*/ 1104759 h 4104905"/>
              <a:gd name="connsiteX2" fmla="*/ 1531194 w 4680000"/>
              <a:gd name="connsiteY2" fmla="*/ 1097960 h 4104905"/>
              <a:gd name="connsiteX3" fmla="*/ 1514198 w 4680000"/>
              <a:gd name="connsiteY3" fmla="*/ 0 h 4104905"/>
              <a:gd name="connsiteX4" fmla="*/ 4680000 w 4680000"/>
              <a:gd name="connsiteY4" fmla="*/ 905 h 4104905"/>
              <a:gd name="connsiteX5" fmla="*/ 4680000 w 4680000"/>
              <a:gd name="connsiteY5" fmla="*/ 905 h 4104905"/>
              <a:gd name="connsiteX6" fmla="*/ 4680000 w 4680000"/>
              <a:gd name="connsiteY6" fmla="*/ 4104905 h 4104905"/>
              <a:gd name="connsiteX7" fmla="*/ 0 w 4680000"/>
              <a:gd name="connsiteY7" fmla="*/ 4104905 h 4104905"/>
              <a:gd name="connsiteX8" fmla="*/ 0 w 4680000"/>
              <a:gd name="connsiteY8" fmla="*/ 905 h 4104905"/>
              <a:gd name="connsiteX0" fmla="*/ 0 w 4680000"/>
              <a:gd name="connsiteY0" fmla="*/ 905 h 4104905"/>
              <a:gd name="connsiteX1" fmla="*/ 562406 w 4680000"/>
              <a:gd name="connsiteY1" fmla="*/ 778430 h 4104905"/>
              <a:gd name="connsiteX2" fmla="*/ 807152 w 4680000"/>
              <a:gd name="connsiteY2" fmla="*/ 1104759 h 4104905"/>
              <a:gd name="connsiteX3" fmla="*/ 1531194 w 4680000"/>
              <a:gd name="connsiteY3" fmla="*/ 1097960 h 4104905"/>
              <a:gd name="connsiteX4" fmla="*/ 1514198 w 4680000"/>
              <a:gd name="connsiteY4" fmla="*/ 0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790156 w 4680000"/>
              <a:gd name="connsiteY1" fmla="*/ 16997 h 4104905"/>
              <a:gd name="connsiteX2" fmla="*/ 807152 w 4680000"/>
              <a:gd name="connsiteY2" fmla="*/ 1104759 h 4104905"/>
              <a:gd name="connsiteX3" fmla="*/ 1531194 w 4680000"/>
              <a:gd name="connsiteY3" fmla="*/ 1097960 h 4104905"/>
              <a:gd name="connsiteX4" fmla="*/ 1514198 w 4680000"/>
              <a:gd name="connsiteY4" fmla="*/ 0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790156 w 4680000"/>
              <a:gd name="connsiteY1" fmla="*/ 16997 h 4104905"/>
              <a:gd name="connsiteX2" fmla="*/ 807152 w 4680000"/>
              <a:gd name="connsiteY2" fmla="*/ 1104759 h 4104905"/>
              <a:gd name="connsiteX3" fmla="*/ 1439414 w 4680000"/>
              <a:gd name="connsiteY3" fmla="*/ 1074166 h 4104905"/>
              <a:gd name="connsiteX4" fmla="*/ 1514198 w 4680000"/>
              <a:gd name="connsiteY4" fmla="*/ 0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0 h 4104000"/>
              <a:gd name="connsiteX1" fmla="*/ 790156 w 4680000"/>
              <a:gd name="connsiteY1" fmla="*/ 16092 h 4104000"/>
              <a:gd name="connsiteX2" fmla="*/ 807152 w 4680000"/>
              <a:gd name="connsiteY2" fmla="*/ 1103854 h 4104000"/>
              <a:gd name="connsiteX3" fmla="*/ 1439414 w 4680000"/>
              <a:gd name="connsiteY3" fmla="*/ 1073261 h 4104000"/>
              <a:gd name="connsiteX4" fmla="*/ 1442813 w 4680000"/>
              <a:gd name="connsiteY4" fmla="*/ 2495 h 4104000"/>
              <a:gd name="connsiteX5" fmla="*/ 4680000 w 4680000"/>
              <a:gd name="connsiteY5" fmla="*/ 0 h 4104000"/>
              <a:gd name="connsiteX6" fmla="*/ 4680000 w 4680000"/>
              <a:gd name="connsiteY6" fmla="*/ 0 h 4104000"/>
              <a:gd name="connsiteX7" fmla="*/ 4680000 w 4680000"/>
              <a:gd name="connsiteY7" fmla="*/ 4104000 h 4104000"/>
              <a:gd name="connsiteX8" fmla="*/ 0 w 4680000"/>
              <a:gd name="connsiteY8" fmla="*/ 4104000 h 4104000"/>
              <a:gd name="connsiteX9" fmla="*/ 0 w 4680000"/>
              <a:gd name="connsiteY9" fmla="*/ 0 h 4104000"/>
              <a:gd name="connsiteX0" fmla="*/ 0 w 4680000"/>
              <a:gd name="connsiteY0" fmla="*/ 0 h 4104000"/>
              <a:gd name="connsiteX1" fmla="*/ 790156 w 4680000"/>
              <a:gd name="connsiteY1" fmla="*/ 16092 h 4104000"/>
              <a:gd name="connsiteX2" fmla="*/ 436633 w 4680000"/>
              <a:gd name="connsiteY2" fmla="*/ 1083458 h 4104000"/>
              <a:gd name="connsiteX3" fmla="*/ 1439414 w 4680000"/>
              <a:gd name="connsiteY3" fmla="*/ 1073261 h 4104000"/>
              <a:gd name="connsiteX4" fmla="*/ 1442813 w 4680000"/>
              <a:gd name="connsiteY4" fmla="*/ 2495 h 4104000"/>
              <a:gd name="connsiteX5" fmla="*/ 4680000 w 4680000"/>
              <a:gd name="connsiteY5" fmla="*/ 0 h 4104000"/>
              <a:gd name="connsiteX6" fmla="*/ 4680000 w 4680000"/>
              <a:gd name="connsiteY6" fmla="*/ 0 h 4104000"/>
              <a:gd name="connsiteX7" fmla="*/ 4680000 w 4680000"/>
              <a:gd name="connsiteY7" fmla="*/ 4104000 h 4104000"/>
              <a:gd name="connsiteX8" fmla="*/ 0 w 4680000"/>
              <a:gd name="connsiteY8" fmla="*/ 4104000 h 4104000"/>
              <a:gd name="connsiteX9" fmla="*/ 0 w 4680000"/>
              <a:gd name="connsiteY9" fmla="*/ 0 h 4104000"/>
              <a:gd name="connsiteX0" fmla="*/ 0 w 4680000"/>
              <a:gd name="connsiteY0" fmla="*/ 904 h 4104904"/>
              <a:gd name="connsiteX1" fmla="*/ 436633 w 4680000"/>
              <a:gd name="connsiteY1" fmla="*/ 0 h 4104904"/>
              <a:gd name="connsiteX2" fmla="*/ 436633 w 4680000"/>
              <a:gd name="connsiteY2" fmla="*/ 1084362 h 4104904"/>
              <a:gd name="connsiteX3" fmla="*/ 1439414 w 4680000"/>
              <a:gd name="connsiteY3" fmla="*/ 1074165 h 4104904"/>
              <a:gd name="connsiteX4" fmla="*/ 1442813 w 4680000"/>
              <a:gd name="connsiteY4" fmla="*/ 3399 h 4104904"/>
              <a:gd name="connsiteX5" fmla="*/ 4680000 w 4680000"/>
              <a:gd name="connsiteY5" fmla="*/ 904 h 4104904"/>
              <a:gd name="connsiteX6" fmla="*/ 4680000 w 4680000"/>
              <a:gd name="connsiteY6" fmla="*/ 904 h 4104904"/>
              <a:gd name="connsiteX7" fmla="*/ 4680000 w 4680000"/>
              <a:gd name="connsiteY7" fmla="*/ 4104904 h 4104904"/>
              <a:gd name="connsiteX8" fmla="*/ 0 w 4680000"/>
              <a:gd name="connsiteY8" fmla="*/ 4104904 h 4104904"/>
              <a:gd name="connsiteX9" fmla="*/ 0 w 4680000"/>
              <a:gd name="connsiteY9" fmla="*/ 904 h 4104904"/>
              <a:gd name="connsiteX0" fmla="*/ 0 w 4680000"/>
              <a:gd name="connsiteY0" fmla="*/ 904 h 4104904"/>
              <a:gd name="connsiteX1" fmla="*/ 436633 w 4680000"/>
              <a:gd name="connsiteY1" fmla="*/ 0 h 4104904"/>
              <a:gd name="connsiteX2" fmla="*/ 433234 w 4680000"/>
              <a:gd name="connsiteY2" fmla="*/ 1070765 h 4104904"/>
              <a:gd name="connsiteX3" fmla="*/ 1439414 w 4680000"/>
              <a:gd name="connsiteY3" fmla="*/ 1074165 h 4104904"/>
              <a:gd name="connsiteX4" fmla="*/ 1442813 w 4680000"/>
              <a:gd name="connsiteY4" fmla="*/ 3399 h 4104904"/>
              <a:gd name="connsiteX5" fmla="*/ 4680000 w 4680000"/>
              <a:gd name="connsiteY5" fmla="*/ 904 h 4104904"/>
              <a:gd name="connsiteX6" fmla="*/ 4680000 w 4680000"/>
              <a:gd name="connsiteY6" fmla="*/ 904 h 4104904"/>
              <a:gd name="connsiteX7" fmla="*/ 4680000 w 4680000"/>
              <a:gd name="connsiteY7" fmla="*/ 4104904 h 4104904"/>
              <a:gd name="connsiteX8" fmla="*/ 0 w 4680000"/>
              <a:gd name="connsiteY8" fmla="*/ 4104904 h 4104904"/>
              <a:gd name="connsiteX9" fmla="*/ 0 w 4680000"/>
              <a:gd name="connsiteY9" fmla="*/ 904 h 41049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9414 w 4680000"/>
              <a:gd name="connsiteY3" fmla="*/ 107756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2271 w 4680000"/>
              <a:gd name="connsiteY3" fmla="*/ 1082332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9414 w 4680000"/>
              <a:gd name="connsiteY3" fmla="*/ 1082332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4652 w 4680000"/>
              <a:gd name="connsiteY3" fmla="*/ 108471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83700 h 4108304"/>
              <a:gd name="connsiteX3" fmla="*/ 1434652 w 4680000"/>
              <a:gd name="connsiteY3" fmla="*/ 108471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1871 w 4680000"/>
              <a:gd name="connsiteY1" fmla="*/ 5783 h 4108304"/>
              <a:gd name="connsiteX2" fmla="*/ 433234 w 4680000"/>
              <a:gd name="connsiteY2" fmla="*/ 1083700 h 4108304"/>
              <a:gd name="connsiteX3" fmla="*/ 1434652 w 4680000"/>
              <a:gd name="connsiteY3" fmla="*/ 108471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1921 h 4105921"/>
              <a:gd name="connsiteX1" fmla="*/ 431871 w 4680000"/>
              <a:gd name="connsiteY1" fmla="*/ 3400 h 4105921"/>
              <a:gd name="connsiteX2" fmla="*/ 433234 w 4680000"/>
              <a:gd name="connsiteY2" fmla="*/ 1081317 h 4105921"/>
              <a:gd name="connsiteX3" fmla="*/ 1434652 w 4680000"/>
              <a:gd name="connsiteY3" fmla="*/ 1082332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31871 w 4680000"/>
              <a:gd name="connsiteY1" fmla="*/ 3400 h 4105921"/>
              <a:gd name="connsiteX2" fmla="*/ 433234 w 4680000"/>
              <a:gd name="connsiteY2" fmla="*/ 1081317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24728 w 4680000"/>
              <a:gd name="connsiteY1" fmla="*/ 1016 h 4105921"/>
              <a:gd name="connsiteX2" fmla="*/ 433234 w 4680000"/>
              <a:gd name="connsiteY2" fmla="*/ 1081317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31871 w 4680000"/>
              <a:gd name="connsiteY1" fmla="*/ 1016 h 4105921"/>
              <a:gd name="connsiteX2" fmla="*/ 433234 w 4680000"/>
              <a:gd name="connsiteY2" fmla="*/ 1081317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31871 w 4680000"/>
              <a:gd name="connsiteY1" fmla="*/ 1016 h 4105921"/>
              <a:gd name="connsiteX2" fmla="*/ 483869 w 4680000"/>
              <a:gd name="connsiteY2" fmla="*/ 1186262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83869 w 4680000"/>
              <a:gd name="connsiteY2" fmla="*/ 1186262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75864 w 4680000"/>
              <a:gd name="connsiteY2" fmla="*/ 1186262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75864 w 4680000"/>
              <a:gd name="connsiteY2" fmla="*/ 1186262 h 4105921"/>
              <a:gd name="connsiteX3" fmla="*/ 1441796 w 4680000"/>
              <a:gd name="connsiteY3" fmla="*/ 1084717 h 4105921"/>
              <a:gd name="connsiteX4" fmla="*/ 1610529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75864 w 4680000"/>
              <a:gd name="connsiteY2" fmla="*/ 1186262 h 4105921"/>
              <a:gd name="connsiteX3" fmla="*/ 1615234 w 4680000"/>
              <a:gd name="connsiteY3" fmla="*/ 1197010 h 4105921"/>
              <a:gd name="connsiteX4" fmla="*/ 1610529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5864 w 4680000"/>
              <a:gd name="connsiteY2" fmla="*/ 1185246 h 4104905"/>
              <a:gd name="connsiteX3" fmla="*/ 1615234 w 4680000"/>
              <a:gd name="connsiteY3" fmla="*/ 1195994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4 w 4680000"/>
              <a:gd name="connsiteY3" fmla="*/ 1195994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4 w 4680000"/>
              <a:gd name="connsiteY3" fmla="*/ 1185548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4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8534 w 4680000"/>
              <a:gd name="connsiteY4" fmla="*/ 1596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28575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20571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20571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5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81370 w 4680000"/>
              <a:gd name="connsiteY2" fmla="*/ 1187857 h 4104905"/>
              <a:gd name="connsiteX3" fmla="*/ 1615235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0 h 4104000"/>
              <a:gd name="connsiteX1" fmla="*/ 485204 w 4680000"/>
              <a:gd name="connsiteY1" fmla="*/ 4651 h 4104000"/>
              <a:gd name="connsiteX2" fmla="*/ 481370 w 4680000"/>
              <a:gd name="connsiteY2" fmla="*/ 1186952 h 4104000"/>
              <a:gd name="connsiteX3" fmla="*/ 1615235 w 4680000"/>
              <a:gd name="connsiteY3" fmla="*/ 1184643 h 4104000"/>
              <a:gd name="connsiteX4" fmla="*/ 1615866 w 4680000"/>
              <a:gd name="connsiteY4" fmla="*/ 5914 h 4104000"/>
              <a:gd name="connsiteX5" fmla="*/ 4680000 w 4680000"/>
              <a:gd name="connsiteY5" fmla="*/ 0 h 4104000"/>
              <a:gd name="connsiteX6" fmla="*/ 4680000 w 4680000"/>
              <a:gd name="connsiteY6" fmla="*/ 0 h 4104000"/>
              <a:gd name="connsiteX7" fmla="*/ 4680000 w 4680000"/>
              <a:gd name="connsiteY7" fmla="*/ 4104000 h 4104000"/>
              <a:gd name="connsiteX8" fmla="*/ 0 w 4680000"/>
              <a:gd name="connsiteY8" fmla="*/ 4104000 h 4104000"/>
              <a:gd name="connsiteX9" fmla="*/ 0 w 4680000"/>
              <a:gd name="connsiteY9" fmla="*/ 0 h 4104000"/>
              <a:gd name="connsiteX0" fmla="*/ 0 w 4680000"/>
              <a:gd name="connsiteY0" fmla="*/ 905 h 4104905"/>
              <a:gd name="connsiteX1" fmla="*/ 482365 w 4680000"/>
              <a:gd name="connsiteY1" fmla="*/ 0 h 4104905"/>
              <a:gd name="connsiteX2" fmla="*/ 481370 w 4680000"/>
              <a:gd name="connsiteY2" fmla="*/ 1187857 h 4104905"/>
              <a:gd name="connsiteX3" fmla="*/ 1615235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82365 w 4680000"/>
              <a:gd name="connsiteY1" fmla="*/ 0 h 4104905"/>
              <a:gd name="connsiteX2" fmla="*/ 481370 w 4680000"/>
              <a:gd name="connsiteY2" fmla="*/ 1187857 h 4104905"/>
              <a:gd name="connsiteX3" fmla="*/ 1615866 w 4680000"/>
              <a:gd name="connsiteY3" fmla="*/ 6819 h 4104905"/>
              <a:gd name="connsiteX4" fmla="*/ 4680000 w 4680000"/>
              <a:gd name="connsiteY4" fmla="*/ 905 h 4104905"/>
              <a:gd name="connsiteX5" fmla="*/ 4680000 w 4680000"/>
              <a:gd name="connsiteY5" fmla="*/ 905 h 4104905"/>
              <a:gd name="connsiteX6" fmla="*/ 4680000 w 4680000"/>
              <a:gd name="connsiteY6" fmla="*/ 4104905 h 4104905"/>
              <a:gd name="connsiteX7" fmla="*/ 0 w 4680000"/>
              <a:gd name="connsiteY7" fmla="*/ 4104905 h 4104905"/>
              <a:gd name="connsiteX8" fmla="*/ 0 w 4680000"/>
              <a:gd name="connsiteY8" fmla="*/ 905 h 4104905"/>
              <a:gd name="connsiteX0" fmla="*/ 0 w 4680000"/>
              <a:gd name="connsiteY0" fmla="*/ 905 h 4104905"/>
              <a:gd name="connsiteX1" fmla="*/ 482365 w 4680000"/>
              <a:gd name="connsiteY1" fmla="*/ 0 h 4104905"/>
              <a:gd name="connsiteX2" fmla="*/ 481370 w 4680000"/>
              <a:gd name="connsiteY2" fmla="*/ 1187857 h 4104905"/>
              <a:gd name="connsiteX3" fmla="*/ 4680000 w 4680000"/>
              <a:gd name="connsiteY3" fmla="*/ 905 h 4104905"/>
              <a:gd name="connsiteX4" fmla="*/ 4680000 w 4680000"/>
              <a:gd name="connsiteY4" fmla="*/ 905 h 4104905"/>
              <a:gd name="connsiteX5" fmla="*/ 4680000 w 4680000"/>
              <a:gd name="connsiteY5" fmla="*/ 4104905 h 4104905"/>
              <a:gd name="connsiteX6" fmla="*/ 0 w 4680000"/>
              <a:gd name="connsiteY6" fmla="*/ 4104905 h 4104905"/>
              <a:gd name="connsiteX7" fmla="*/ 0 w 4680000"/>
              <a:gd name="connsiteY7" fmla="*/ 905 h 4104905"/>
              <a:gd name="connsiteX0" fmla="*/ 0 w 4680000"/>
              <a:gd name="connsiteY0" fmla="*/ 905 h 4104905"/>
              <a:gd name="connsiteX1" fmla="*/ 482365 w 4680000"/>
              <a:gd name="connsiteY1" fmla="*/ 0 h 4104905"/>
              <a:gd name="connsiteX2" fmla="*/ 4680000 w 4680000"/>
              <a:gd name="connsiteY2" fmla="*/ 905 h 4104905"/>
              <a:gd name="connsiteX3" fmla="*/ 4680000 w 4680000"/>
              <a:gd name="connsiteY3" fmla="*/ 905 h 4104905"/>
              <a:gd name="connsiteX4" fmla="*/ 4680000 w 4680000"/>
              <a:gd name="connsiteY4" fmla="*/ 4104905 h 4104905"/>
              <a:gd name="connsiteX5" fmla="*/ 0 w 4680000"/>
              <a:gd name="connsiteY5" fmla="*/ 4104905 h 4104905"/>
              <a:gd name="connsiteX6" fmla="*/ 0 w 4680000"/>
              <a:gd name="connsiteY6" fmla="*/ 905 h 4104905"/>
              <a:gd name="connsiteX0" fmla="*/ 0 w 4680000"/>
              <a:gd name="connsiteY0" fmla="*/ -1 h 4103999"/>
              <a:gd name="connsiteX1" fmla="*/ 4680000 w 4680000"/>
              <a:gd name="connsiteY1" fmla="*/ -1 h 4103999"/>
              <a:gd name="connsiteX2" fmla="*/ 4680000 w 4680000"/>
              <a:gd name="connsiteY2" fmla="*/ -1 h 4103999"/>
              <a:gd name="connsiteX3" fmla="*/ 4680000 w 4680000"/>
              <a:gd name="connsiteY3" fmla="*/ 4103999 h 4103999"/>
              <a:gd name="connsiteX4" fmla="*/ 0 w 4680000"/>
              <a:gd name="connsiteY4" fmla="*/ 4103999 h 4103999"/>
              <a:gd name="connsiteX5" fmla="*/ 0 w 4680000"/>
              <a:gd name="connsiteY5" fmla="*/ -1 h 410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80000" h="4103999">
                <a:moveTo>
                  <a:pt x="0" y="-1"/>
                </a:moveTo>
                <a:lnTo>
                  <a:pt x="4680000" y="-1"/>
                </a:lnTo>
                <a:lnTo>
                  <a:pt x="4680000" y="-1"/>
                </a:lnTo>
                <a:lnTo>
                  <a:pt x="4680000" y="4103999"/>
                </a:lnTo>
                <a:lnTo>
                  <a:pt x="0" y="4103999"/>
                </a:lnTo>
                <a:lnTo>
                  <a:pt x="0" y="-1"/>
                </a:lnTo>
                <a:close/>
              </a:path>
            </a:pathLst>
          </a:custGeom>
          <a:solidFill>
            <a:schemeClr val="accent1">
              <a:alpha val="70000"/>
            </a:schemeClr>
          </a:solidFill>
        </p:spPr>
        <p:txBody>
          <a:bodyPr wrap="none" lIns="360000" tIns="360000" rIns="360000" bIns="720000" anchor="t" anchorCtr="0">
            <a:noAutofit/>
          </a:bodyPr>
          <a:lstStyle>
            <a:lvl1pPr>
              <a:lnSpc>
                <a:spcPts val="42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white">
          <a:xfrm>
            <a:off x="792088" y="4104387"/>
            <a:ext cx="4176000" cy="288000"/>
          </a:xfrm>
        </p:spPr>
        <p:txBody>
          <a:bodyPr wrap="none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WWF-Logo-Vektorgraphik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32048" y="432147"/>
            <a:ext cx="827804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034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Bild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217025" cy="5184775"/>
          </a:xfrm>
          <a:custGeom>
            <a:avLst/>
            <a:gdLst/>
            <a:ahLst/>
            <a:cxnLst/>
            <a:rect l="l" t="t" r="r" b="b"/>
            <a:pathLst>
              <a:path w="9217025" h="5184775">
                <a:moveTo>
                  <a:pt x="216024" y="216123"/>
                </a:moveTo>
                <a:lnTo>
                  <a:pt x="216024" y="1080219"/>
                </a:lnTo>
                <a:lnTo>
                  <a:pt x="1008063" y="1080219"/>
                </a:lnTo>
                <a:lnTo>
                  <a:pt x="1008063" y="216123"/>
                </a:lnTo>
                <a:close/>
                <a:moveTo>
                  <a:pt x="0" y="0"/>
                </a:moveTo>
                <a:lnTo>
                  <a:pt x="9217025" y="0"/>
                </a:lnTo>
                <a:lnTo>
                  <a:pt x="9217025" y="5184775"/>
                </a:lnTo>
                <a:lnTo>
                  <a:pt x="0" y="5184775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360000" tIns="2736000" rIns="360000"/>
          <a:lstStyle>
            <a:lvl1pPr marL="0" indent="0" algn="ctr">
              <a:buNone/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008063" y="216187"/>
            <a:ext cx="7993062" cy="863936"/>
          </a:xfrm>
          <a:custGeom>
            <a:avLst/>
            <a:gdLst>
              <a:gd name="connsiteX0" fmla="*/ 0 w 4680000"/>
              <a:gd name="connsiteY0" fmla="*/ 0 h 4104000"/>
              <a:gd name="connsiteX1" fmla="*/ 4680000 w 4680000"/>
              <a:gd name="connsiteY1" fmla="*/ 0 h 4104000"/>
              <a:gd name="connsiteX2" fmla="*/ 4680000 w 4680000"/>
              <a:gd name="connsiteY2" fmla="*/ 0 h 4104000"/>
              <a:gd name="connsiteX3" fmla="*/ 4680000 w 4680000"/>
              <a:gd name="connsiteY3" fmla="*/ 4104000 h 4104000"/>
              <a:gd name="connsiteX4" fmla="*/ 0 w 4680000"/>
              <a:gd name="connsiteY4" fmla="*/ 4104000 h 4104000"/>
              <a:gd name="connsiteX5" fmla="*/ 0 w 4680000"/>
              <a:gd name="connsiteY5" fmla="*/ 0 h 4104000"/>
              <a:gd name="connsiteX0" fmla="*/ 0 w 4680000"/>
              <a:gd name="connsiteY0" fmla="*/ 905 h 4104905"/>
              <a:gd name="connsiteX1" fmla="*/ 1514198 w 4680000"/>
              <a:gd name="connsiteY1" fmla="*/ 0 h 4104905"/>
              <a:gd name="connsiteX2" fmla="*/ 4680000 w 4680000"/>
              <a:gd name="connsiteY2" fmla="*/ 905 h 4104905"/>
              <a:gd name="connsiteX3" fmla="*/ 4680000 w 4680000"/>
              <a:gd name="connsiteY3" fmla="*/ 905 h 4104905"/>
              <a:gd name="connsiteX4" fmla="*/ 4680000 w 4680000"/>
              <a:gd name="connsiteY4" fmla="*/ 4104905 h 4104905"/>
              <a:gd name="connsiteX5" fmla="*/ 0 w 4680000"/>
              <a:gd name="connsiteY5" fmla="*/ 4104905 h 4104905"/>
              <a:gd name="connsiteX6" fmla="*/ 0 w 4680000"/>
              <a:gd name="connsiteY6" fmla="*/ 905 h 4104905"/>
              <a:gd name="connsiteX0" fmla="*/ 0 w 4680000"/>
              <a:gd name="connsiteY0" fmla="*/ 905 h 4104905"/>
              <a:gd name="connsiteX1" fmla="*/ 1514198 w 4680000"/>
              <a:gd name="connsiteY1" fmla="*/ 0 h 4104905"/>
              <a:gd name="connsiteX2" fmla="*/ 4680000 w 4680000"/>
              <a:gd name="connsiteY2" fmla="*/ 905 h 4104905"/>
              <a:gd name="connsiteX3" fmla="*/ 4680000 w 4680000"/>
              <a:gd name="connsiteY3" fmla="*/ 905 h 4104905"/>
              <a:gd name="connsiteX4" fmla="*/ 4680000 w 4680000"/>
              <a:gd name="connsiteY4" fmla="*/ 4104905 h 4104905"/>
              <a:gd name="connsiteX5" fmla="*/ 0 w 4680000"/>
              <a:gd name="connsiteY5" fmla="*/ 4104905 h 4104905"/>
              <a:gd name="connsiteX6" fmla="*/ 0 w 4680000"/>
              <a:gd name="connsiteY6" fmla="*/ 905 h 4104905"/>
              <a:gd name="connsiteX0" fmla="*/ 0 w 4680000"/>
              <a:gd name="connsiteY0" fmla="*/ 905 h 4104905"/>
              <a:gd name="connsiteX1" fmla="*/ 1079093 w 4680000"/>
              <a:gd name="connsiteY1" fmla="*/ 1 h 4104905"/>
              <a:gd name="connsiteX2" fmla="*/ 1514198 w 4680000"/>
              <a:gd name="connsiteY2" fmla="*/ 0 h 4104905"/>
              <a:gd name="connsiteX3" fmla="*/ 4680000 w 4680000"/>
              <a:gd name="connsiteY3" fmla="*/ 905 h 4104905"/>
              <a:gd name="connsiteX4" fmla="*/ 4680000 w 4680000"/>
              <a:gd name="connsiteY4" fmla="*/ 905 h 4104905"/>
              <a:gd name="connsiteX5" fmla="*/ 4680000 w 4680000"/>
              <a:gd name="connsiteY5" fmla="*/ 4104905 h 4104905"/>
              <a:gd name="connsiteX6" fmla="*/ 0 w 4680000"/>
              <a:gd name="connsiteY6" fmla="*/ 4104905 h 4104905"/>
              <a:gd name="connsiteX7" fmla="*/ 0 w 4680000"/>
              <a:gd name="connsiteY7" fmla="*/ 905 h 4104905"/>
              <a:gd name="connsiteX0" fmla="*/ 0 w 4680000"/>
              <a:gd name="connsiteY0" fmla="*/ 905 h 4104905"/>
              <a:gd name="connsiteX1" fmla="*/ 1531194 w 4680000"/>
              <a:gd name="connsiteY1" fmla="*/ 1097960 h 4104905"/>
              <a:gd name="connsiteX2" fmla="*/ 1514198 w 4680000"/>
              <a:gd name="connsiteY2" fmla="*/ 0 h 4104905"/>
              <a:gd name="connsiteX3" fmla="*/ 4680000 w 4680000"/>
              <a:gd name="connsiteY3" fmla="*/ 905 h 4104905"/>
              <a:gd name="connsiteX4" fmla="*/ 4680000 w 4680000"/>
              <a:gd name="connsiteY4" fmla="*/ 905 h 4104905"/>
              <a:gd name="connsiteX5" fmla="*/ 4680000 w 4680000"/>
              <a:gd name="connsiteY5" fmla="*/ 4104905 h 4104905"/>
              <a:gd name="connsiteX6" fmla="*/ 0 w 4680000"/>
              <a:gd name="connsiteY6" fmla="*/ 4104905 h 4104905"/>
              <a:gd name="connsiteX7" fmla="*/ 0 w 4680000"/>
              <a:gd name="connsiteY7" fmla="*/ 905 h 4104905"/>
              <a:gd name="connsiteX0" fmla="*/ 0 w 4680000"/>
              <a:gd name="connsiteY0" fmla="*/ 905 h 4104905"/>
              <a:gd name="connsiteX1" fmla="*/ 810551 w 4680000"/>
              <a:gd name="connsiteY1" fmla="*/ 581273 h 4104905"/>
              <a:gd name="connsiteX2" fmla="*/ 1531194 w 4680000"/>
              <a:gd name="connsiteY2" fmla="*/ 1097960 h 4104905"/>
              <a:gd name="connsiteX3" fmla="*/ 1514198 w 4680000"/>
              <a:gd name="connsiteY3" fmla="*/ 0 h 4104905"/>
              <a:gd name="connsiteX4" fmla="*/ 4680000 w 4680000"/>
              <a:gd name="connsiteY4" fmla="*/ 905 h 4104905"/>
              <a:gd name="connsiteX5" fmla="*/ 4680000 w 4680000"/>
              <a:gd name="connsiteY5" fmla="*/ 905 h 4104905"/>
              <a:gd name="connsiteX6" fmla="*/ 4680000 w 4680000"/>
              <a:gd name="connsiteY6" fmla="*/ 4104905 h 4104905"/>
              <a:gd name="connsiteX7" fmla="*/ 0 w 4680000"/>
              <a:gd name="connsiteY7" fmla="*/ 4104905 h 4104905"/>
              <a:gd name="connsiteX8" fmla="*/ 0 w 4680000"/>
              <a:gd name="connsiteY8" fmla="*/ 905 h 4104905"/>
              <a:gd name="connsiteX0" fmla="*/ 0 w 4680000"/>
              <a:gd name="connsiteY0" fmla="*/ 905 h 4104905"/>
              <a:gd name="connsiteX1" fmla="*/ 807152 w 4680000"/>
              <a:gd name="connsiteY1" fmla="*/ 1104759 h 4104905"/>
              <a:gd name="connsiteX2" fmla="*/ 1531194 w 4680000"/>
              <a:gd name="connsiteY2" fmla="*/ 1097960 h 4104905"/>
              <a:gd name="connsiteX3" fmla="*/ 1514198 w 4680000"/>
              <a:gd name="connsiteY3" fmla="*/ 0 h 4104905"/>
              <a:gd name="connsiteX4" fmla="*/ 4680000 w 4680000"/>
              <a:gd name="connsiteY4" fmla="*/ 905 h 4104905"/>
              <a:gd name="connsiteX5" fmla="*/ 4680000 w 4680000"/>
              <a:gd name="connsiteY5" fmla="*/ 905 h 4104905"/>
              <a:gd name="connsiteX6" fmla="*/ 4680000 w 4680000"/>
              <a:gd name="connsiteY6" fmla="*/ 4104905 h 4104905"/>
              <a:gd name="connsiteX7" fmla="*/ 0 w 4680000"/>
              <a:gd name="connsiteY7" fmla="*/ 4104905 h 4104905"/>
              <a:gd name="connsiteX8" fmla="*/ 0 w 4680000"/>
              <a:gd name="connsiteY8" fmla="*/ 905 h 4104905"/>
              <a:gd name="connsiteX0" fmla="*/ 0 w 4680000"/>
              <a:gd name="connsiteY0" fmla="*/ 905 h 4104905"/>
              <a:gd name="connsiteX1" fmla="*/ 562406 w 4680000"/>
              <a:gd name="connsiteY1" fmla="*/ 778430 h 4104905"/>
              <a:gd name="connsiteX2" fmla="*/ 807152 w 4680000"/>
              <a:gd name="connsiteY2" fmla="*/ 1104759 h 4104905"/>
              <a:gd name="connsiteX3" fmla="*/ 1531194 w 4680000"/>
              <a:gd name="connsiteY3" fmla="*/ 1097960 h 4104905"/>
              <a:gd name="connsiteX4" fmla="*/ 1514198 w 4680000"/>
              <a:gd name="connsiteY4" fmla="*/ 0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790156 w 4680000"/>
              <a:gd name="connsiteY1" fmla="*/ 16997 h 4104905"/>
              <a:gd name="connsiteX2" fmla="*/ 807152 w 4680000"/>
              <a:gd name="connsiteY2" fmla="*/ 1104759 h 4104905"/>
              <a:gd name="connsiteX3" fmla="*/ 1531194 w 4680000"/>
              <a:gd name="connsiteY3" fmla="*/ 1097960 h 4104905"/>
              <a:gd name="connsiteX4" fmla="*/ 1514198 w 4680000"/>
              <a:gd name="connsiteY4" fmla="*/ 0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790156 w 4680000"/>
              <a:gd name="connsiteY1" fmla="*/ 16997 h 4104905"/>
              <a:gd name="connsiteX2" fmla="*/ 807152 w 4680000"/>
              <a:gd name="connsiteY2" fmla="*/ 1104759 h 4104905"/>
              <a:gd name="connsiteX3" fmla="*/ 1439414 w 4680000"/>
              <a:gd name="connsiteY3" fmla="*/ 1074166 h 4104905"/>
              <a:gd name="connsiteX4" fmla="*/ 1514198 w 4680000"/>
              <a:gd name="connsiteY4" fmla="*/ 0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0 h 4104000"/>
              <a:gd name="connsiteX1" fmla="*/ 790156 w 4680000"/>
              <a:gd name="connsiteY1" fmla="*/ 16092 h 4104000"/>
              <a:gd name="connsiteX2" fmla="*/ 807152 w 4680000"/>
              <a:gd name="connsiteY2" fmla="*/ 1103854 h 4104000"/>
              <a:gd name="connsiteX3" fmla="*/ 1439414 w 4680000"/>
              <a:gd name="connsiteY3" fmla="*/ 1073261 h 4104000"/>
              <a:gd name="connsiteX4" fmla="*/ 1442813 w 4680000"/>
              <a:gd name="connsiteY4" fmla="*/ 2495 h 4104000"/>
              <a:gd name="connsiteX5" fmla="*/ 4680000 w 4680000"/>
              <a:gd name="connsiteY5" fmla="*/ 0 h 4104000"/>
              <a:gd name="connsiteX6" fmla="*/ 4680000 w 4680000"/>
              <a:gd name="connsiteY6" fmla="*/ 0 h 4104000"/>
              <a:gd name="connsiteX7" fmla="*/ 4680000 w 4680000"/>
              <a:gd name="connsiteY7" fmla="*/ 4104000 h 4104000"/>
              <a:gd name="connsiteX8" fmla="*/ 0 w 4680000"/>
              <a:gd name="connsiteY8" fmla="*/ 4104000 h 4104000"/>
              <a:gd name="connsiteX9" fmla="*/ 0 w 4680000"/>
              <a:gd name="connsiteY9" fmla="*/ 0 h 4104000"/>
              <a:gd name="connsiteX0" fmla="*/ 0 w 4680000"/>
              <a:gd name="connsiteY0" fmla="*/ 0 h 4104000"/>
              <a:gd name="connsiteX1" fmla="*/ 790156 w 4680000"/>
              <a:gd name="connsiteY1" fmla="*/ 16092 h 4104000"/>
              <a:gd name="connsiteX2" fmla="*/ 436633 w 4680000"/>
              <a:gd name="connsiteY2" fmla="*/ 1083458 h 4104000"/>
              <a:gd name="connsiteX3" fmla="*/ 1439414 w 4680000"/>
              <a:gd name="connsiteY3" fmla="*/ 1073261 h 4104000"/>
              <a:gd name="connsiteX4" fmla="*/ 1442813 w 4680000"/>
              <a:gd name="connsiteY4" fmla="*/ 2495 h 4104000"/>
              <a:gd name="connsiteX5" fmla="*/ 4680000 w 4680000"/>
              <a:gd name="connsiteY5" fmla="*/ 0 h 4104000"/>
              <a:gd name="connsiteX6" fmla="*/ 4680000 w 4680000"/>
              <a:gd name="connsiteY6" fmla="*/ 0 h 4104000"/>
              <a:gd name="connsiteX7" fmla="*/ 4680000 w 4680000"/>
              <a:gd name="connsiteY7" fmla="*/ 4104000 h 4104000"/>
              <a:gd name="connsiteX8" fmla="*/ 0 w 4680000"/>
              <a:gd name="connsiteY8" fmla="*/ 4104000 h 4104000"/>
              <a:gd name="connsiteX9" fmla="*/ 0 w 4680000"/>
              <a:gd name="connsiteY9" fmla="*/ 0 h 4104000"/>
              <a:gd name="connsiteX0" fmla="*/ 0 w 4680000"/>
              <a:gd name="connsiteY0" fmla="*/ 904 h 4104904"/>
              <a:gd name="connsiteX1" fmla="*/ 436633 w 4680000"/>
              <a:gd name="connsiteY1" fmla="*/ 0 h 4104904"/>
              <a:gd name="connsiteX2" fmla="*/ 436633 w 4680000"/>
              <a:gd name="connsiteY2" fmla="*/ 1084362 h 4104904"/>
              <a:gd name="connsiteX3" fmla="*/ 1439414 w 4680000"/>
              <a:gd name="connsiteY3" fmla="*/ 1074165 h 4104904"/>
              <a:gd name="connsiteX4" fmla="*/ 1442813 w 4680000"/>
              <a:gd name="connsiteY4" fmla="*/ 3399 h 4104904"/>
              <a:gd name="connsiteX5" fmla="*/ 4680000 w 4680000"/>
              <a:gd name="connsiteY5" fmla="*/ 904 h 4104904"/>
              <a:gd name="connsiteX6" fmla="*/ 4680000 w 4680000"/>
              <a:gd name="connsiteY6" fmla="*/ 904 h 4104904"/>
              <a:gd name="connsiteX7" fmla="*/ 4680000 w 4680000"/>
              <a:gd name="connsiteY7" fmla="*/ 4104904 h 4104904"/>
              <a:gd name="connsiteX8" fmla="*/ 0 w 4680000"/>
              <a:gd name="connsiteY8" fmla="*/ 4104904 h 4104904"/>
              <a:gd name="connsiteX9" fmla="*/ 0 w 4680000"/>
              <a:gd name="connsiteY9" fmla="*/ 904 h 4104904"/>
              <a:gd name="connsiteX0" fmla="*/ 0 w 4680000"/>
              <a:gd name="connsiteY0" fmla="*/ 904 h 4104904"/>
              <a:gd name="connsiteX1" fmla="*/ 436633 w 4680000"/>
              <a:gd name="connsiteY1" fmla="*/ 0 h 4104904"/>
              <a:gd name="connsiteX2" fmla="*/ 433234 w 4680000"/>
              <a:gd name="connsiteY2" fmla="*/ 1070765 h 4104904"/>
              <a:gd name="connsiteX3" fmla="*/ 1439414 w 4680000"/>
              <a:gd name="connsiteY3" fmla="*/ 1074165 h 4104904"/>
              <a:gd name="connsiteX4" fmla="*/ 1442813 w 4680000"/>
              <a:gd name="connsiteY4" fmla="*/ 3399 h 4104904"/>
              <a:gd name="connsiteX5" fmla="*/ 4680000 w 4680000"/>
              <a:gd name="connsiteY5" fmla="*/ 904 h 4104904"/>
              <a:gd name="connsiteX6" fmla="*/ 4680000 w 4680000"/>
              <a:gd name="connsiteY6" fmla="*/ 904 h 4104904"/>
              <a:gd name="connsiteX7" fmla="*/ 4680000 w 4680000"/>
              <a:gd name="connsiteY7" fmla="*/ 4104904 h 4104904"/>
              <a:gd name="connsiteX8" fmla="*/ 0 w 4680000"/>
              <a:gd name="connsiteY8" fmla="*/ 4104904 h 4104904"/>
              <a:gd name="connsiteX9" fmla="*/ 0 w 4680000"/>
              <a:gd name="connsiteY9" fmla="*/ 904 h 41049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9414 w 4680000"/>
              <a:gd name="connsiteY3" fmla="*/ 107756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2271 w 4680000"/>
              <a:gd name="connsiteY3" fmla="*/ 1082332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9414 w 4680000"/>
              <a:gd name="connsiteY3" fmla="*/ 1082332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4652 w 4680000"/>
              <a:gd name="connsiteY3" fmla="*/ 108471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83700 h 4108304"/>
              <a:gd name="connsiteX3" fmla="*/ 1434652 w 4680000"/>
              <a:gd name="connsiteY3" fmla="*/ 108471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1871 w 4680000"/>
              <a:gd name="connsiteY1" fmla="*/ 5783 h 4108304"/>
              <a:gd name="connsiteX2" fmla="*/ 433234 w 4680000"/>
              <a:gd name="connsiteY2" fmla="*/ 1083700 h 4108304"/>
              <a:gd name="connsiteX3" fmla="*/ 1434652 w 4680000"/>
              <a:gd name="connsiteY3" fmla="*/ 108471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1921 h 4105921"/>
              <a:gd name="connsiteX1" fmla="*/ 431871 w 4680000"/>
              <a:gd name="connsiteY1" fmla="*/ 3400 h 4105921"/>
              <a:gd name="connsiteX2" fmla="*/ 433234 w 4680000"/>
              <a:gd name="connsiteY2" fmla="*/ 1081317 h 4105921"/>
              <a:gd name="connsiteX3" fmla="*/ 1434652 w 4680000"/>
              <a:gd name="connsiteY3" fmla="*/ 1082332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31871 w 4680000"/>
              <a:gd name="connsiteY1" fmla="*/ 3400 h 4105921"/>
              <a:gd name="connsiteX2" fmla="*/ 433234 w 4680000"/>
              <a:gd name="connsiteY2" fmla="*/ 1081317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24728 w 4680000"/>
              <a:gd name="connsiteY1" fmla="*/ 1016 h 4105921"/>
              <a:gd name="connsiteX2" fmla="*/ 433234 w 4680000"/>
              <a:gd name="connsiteY2" fmla="*/ 1081317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31871 w 4680000"/>
              <a:gd name="connsiteY1" fmla="*/ 1016 h 4105921"/>
              <a:gd name="connsiteX2" fmla="*/ 433234 w 4680000"/>
              <a:gd name="connsiteY2" fmla="*/ 1081317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31871 w 4680000"/>
              <a:gd name="connsiteY1" fmla="*/ 1016 h 4105921"/>
              <a:gd name="connsiteX2" fmla="*/ 483869 w 4680000"/>
              <a:gd name="connsiteY2" fmla="*/ 1186262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83869 w 4680000"/>
              <a:gd name="connsiteY2" fmla="*/ 1186262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75864 w 4680000"/>
              <a:gd name="connsiteY2" fmla="*/ 1186262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75864 w 4680000"/>
              <a:gd name="connsiteY2" fmla="*/ 1186262 h 4105921"/>
              <a:gd name="connsiteX3" fmla="*/ 1441796 w 4680000"/>
              <a:gd name="connsiteY3" fmla="*/ 1084717 h 4105921"/>
              <a:gd name="connsiteX4" fmla="*/ 1610529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75864 w 4680000"/>
              <a:gd name="connsiteY2" fmla="*/ 1186262 h 4105921"/>
              <a:gd name="connsiteX3" fmla="*/ 1615234 w 4680000"/>
              <a:gd name="connsiteY3" fmla="*/ 1197010 h 4105921"/>
              <a:gd name="connsiteX4" fmla="*/ 1610529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5864 w 4680000"/>
              <a:gd name="connsiteY2" fmla="*/ 1185246 h 4104905"/>
              <a:gd name="connsiteX3" fmla="*/ 1615234 w 4680000"/>
              <a:gd name="connsiteY3" fmla="*/ 1195994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4 w 4680000"/>
              <a:gd name="connsiteY3" fmla="*/ 1195994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4 w 4680000"/>
              <a:gd name="connsiteY3" fmla="*/ 1185548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4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8534 w 4680000"/>
              <a:gd name="connsiteY4" fmla="*/ 1596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28575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20571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20571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5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1615235 w 4680000"/>
              <a:gd name="connsiteY2" fmla="*/ 1185548 h 4104905"/>
              <a:gd name="connsiteX3" fmla="*/ 1615866 w 4680000"/>
              <a:gd name="connsiteY3" fmla="*/ 6819 h 4104905"/>
              <a:gd name="connsiteX4" fmla="*/ 4680000 w 4680000"/>
              <a:gd name="connsiteY4" fmla="*/ 905 h 4104905"/>
              <a:gd name="connsiteX5" fmla="*/ 4680000 w 4680000"/>
              <a:gd name="connsiteY5" fmla="*/ 905 h 4104905"/>
              <a:gd name="connsiteX6" fmla="*/ 4680000 w 4680000"/>
              <a:gd name="connsiteY6" fmla="*/ 4104905 h 4104905"/>
              <a:gd name="connsiteX7" fmla="*/ 0 w 4680000"/>
              <a:gd name="connsiteY7" fmla="*/ 4104905 h 4104905"/>
              <a:gd name="connsiteX8" fmla="*/ 0 w 4680000"/>
              <a:gd name="connsiteY8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1615866 w 4680000"/>
              <a:gd name="connsiteY2" fmla="*/ 6819 h 4104905"/>
              <a:gd name="connsiteX3" fmla="*/ 4680000 w 4680000"/>
              <a:gd name="connsiteY3" fmla="*/ 905 h 4104905"/>
              <a:gd name="connsiteX4" fmla="*/ 4680000 w 4680000"/>
              <a:gd name="connsiteY4" fmla="*/ 905 h 4104905"/>
              <a:gd name="connsiteX5" fmla="*/ 4680000 w 4680000"/>
              <a:gd name="connsiteY5" fmla="*/ 4104905 h 4104905"/>
              <a:gd name="connsiteX6" fmla="*/ 0 w 4680000"/>
              <a:gd name="connsiteY6" fmla="*/ 4104905 h 4104905"/>
              <a:gd name="connsiteX7" fmla="*/ 0 w 4680000"/>
              <a:gd name="connsiteY7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680000 w 4680000"/>
              <a:gd name="connsiteY2" fmla="*/ 905 h 4104905"/>
              <a:gd name="connsiteX3" fmla="*/ 4680000 w 4680000"/>
              <a:gd name="connsiteY3" fmla="*/ 905 h 4104905"/>
              <a:gd name="connsiteX4" fmla="*/ 4680000 w 4680000"/>
              <a:gd name="connsiteY4" fmla="*/ 4104905 h 4104905"/>
              <a:gd name="connsiteX5" fmla="*/ 0 w 4680000"/>
              <a:gd name="connsiteY5" fmla="*/ 4104905 h 4104905"/>
              <a:gd name="connsiteX6" fmla="*/ 0 w 4680000"/>
              <a:gd name="connsiteY6" fmla="*/ 905 h 4104905"/>
              <a:gd name="connsiteX0" fmla="*/ 0 w 4680000"/>
              <a:gd name="connsiteY0" fmla="*/ -1 h 4103999"/>
              <a:gd name="connsiteX1" fmla="*/ 4680000 w 4680000"/>
              <a:gd name="connsiteY1" fmla="*/ -1 h 4103999"/>
              <a:gd name="connsiteX2" fmla="*/ 4680000 w 4680000"/>
              <a:gd name="connsiteY2" fmla="*/ -1 h 4103999"/>
              <a:gd name="connsiteX3" fmla="*/ 4680000 w 4680000"/>
              <a:gd name="connsiteY3" fmla="*/ 4103999 h 4103999"/>
              <a:gd name="connsiteX4" fmla="*/ 0 w 4680000"/>
              <a:gd name="connsiteY4" fmla="*/ 4103999 h 4103999"/>
              <a:gd name="connsiteX5" fmla="*/ 0 w 4680000"/>
              <a:gd name="connsiteY5" fmla="*/ -1 h 410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80000" h="4103999">
                <a:moveTo>
                  <a:pt x="0" y="-1"/>
                </a:moveTo>
                <a:lnTo>
                  <a:pt x="4680000" y="-1"/>
                </a:lnTo>
                <a:lnTo>
                  <a:pt x="4680000" y="-1"/>
                </a:lnTo>
                <a:lnTo>
                  <a:pt x="4680000" y="4103999"/>
                </a:lnTo>
                <a:lnTo>
                  <a:pt x="0" y="4103999"/>
                </a:lnTo>
                <a:lnTo>
                  <a:pt x="0" y="-1"/>
                </a:lnTo>
                <a:close/>
              </a:path>
            </a:pathLst>
          </a:custGeom>
          <a:noFill/>
          <a:effectLst>
            <a:outerShdw blurRad="254000" dist="6350" dir="5400000" algn="t" rotWithShape="0">
              <a:schemeClr val="accent1">
                <a:alpha val="50000"/>
              </a:schemeClr>
            </a:outerShdw>
          </a:effectLst>
        </p:spPr>
        <p:txBody>
          <a:bodyPr lIns="216000" tIns="72000" rIns="216000" bIns="0" anchor="b" anchorCtr="0">
            <a:noAutofit/>
          </a:bodyPr>
          <a:lstStyle>
            <a:lvl1pPr>
              <a:lnSpc>
                <a:spcPts val="3200"/>
              </a:lnSpc>
              <a:defRPr sz="30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128952" y="5256683"/>
            <a:ext cx="1440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3. April 201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07144" y="5256699"/>
            <a:ext cx="4896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WWF Präsentation | Titel | Anlas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640960" y="5256699"/>
            <a:ext cx="360000" cy="144000"/>
          </a:xfrm>
          <a:prstGeom prst="rect">
            <a:avLst/>
          </a:prstGeom>
        </p:spPr>
        <p:txBody>
          <a:bodyPr/>
          <a:lstStyle/>
          <a:p>
            <a:fld id="{E475C7B0-62B8-48D9-B834-62EC2DD669EA}" type="slidenum">
              <a:rPr lang="de-DE" smtClean="0"/>
              <a:t>‹#›</a:t>
            </a:fld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A8F2891-C387-6844-AD55-FDB57F6033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024" y="216123"/>
            <a:ext cx="773055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984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Bild, Titel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217025" cy="5184775"/>
          </a:xfrm>
          <a:custGeom>
            <a:avLst/>
            <a:gdLst/>
            <a:ahLst/>
            <a:cxnLst/>
            <a:rect l="l" t="t" r="r" b="b"/>
            <a:pathLst>
              <a:path w="9217025" h="5184775">
                <a:moveTo>
                  <a:pt x="216024" y="216123"/>
                </a:moveTo>
                <a:lnTo>
                  <a:pt x="216024" y="1080219"/>
                </a:lnTo>
                <a:lnTo>
                  <a:pt x="1008063" y="1080219"/>
                </a:lnTo>
                <a:lnTo>
                  <a:pt x="1008063" y="216123"/>
                </a:lnTo>
                <a:close/>
                <a:moveTo>
                  <a:pt x="0" y="0"/>
                </a:moveTo>
                <a:lnTo>
                  <a:pt x="9217025" y="0"/>
                </a:lnTo>
                <a:lnTo>
                  <a:pt x="9217025" y="5184775"/>
                </a:lnTo>
                <a:lnTo>
                  <a:pt x="0" y="5184775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360000" tIns="2736000" rIns="360000"/>
          <a:lstStyle>
            <a:lvl1pPr marL="0" indent="0" algn="ctr">
              <a:buNone/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1008063" y="216187"/>
            <a:ext cx="7993062" cy="863936"/>
          </a:xfrm>
          <a:custGeom>
            <a:avLst/>
            <a:gdLst>
              <a:gd name="connsiteX0" fmla="*/ 0 w 4680000"/>
              <a:gd name="connsiteY0" fmla="*/ 0 h 4104000"/>
              <a:gd name="connsiteX1" fmla="*/ 4680000 w 4680000"/>
              <a:gd name="connsiteY1" fmla="*/ 0 h 4104000"/>
              <a:gd name="connsiteX2" fmla="*/ 4680000 w 4680000"/>
              <a:gd name="connsiteY2" fmla="*/ 0 h 4104000"/>
              <a:gd name="connsiteX3" fmla="*/ 4680000 w 4680000"/>
              <a:gd name="connsiteY3" fmla="*/ 4104000 h 4104000"/>
              <a:gd name="connsiteX4" fmla="*/ 0 w 4680000"/>
              <a:gd name="connsiteY4" fmla="*/ 4104000 h 4104000"/>
              <a:gd name="connsiteX5" fmla="*/ 0 w 4680000"/>
              <a:gd name="connsiteY5" fmla="*/ 0 h 4104000"/>
              <a:gd name="connsiteX0" fmla="*/ 0 w 4680000"/>
              <a:gd name="connsiteY0" fmla="*/ 905 h 4104905"/>
              <a:gd name="connsiteX1" fmla="*/ 1514198 w 4680000"/>
              <a:gd name="connsiteY1" fmla="*/ 0 h 4104905"/>
              <a:gd name="connsiteX2" fmla="*/ 4680000 w 4680000"/>
              <a:gd name="connsiteY2" fmla="*/ 905 h 4104905"/>
              <a:gd name="connsiteX3" fmla="*/ 4680000 w 4680000"/>
              <a:gd name="connsiteY3" fmla="*/ 905 h 4104905"/>
              <a:gd name="connsiteX4" fmla="*/ 4680000 w 4680000"/>
              <a:gd name="connsiteY4" fmla="*/ 4104905 h 4104905"/>
              <a:gd name="connsiteX5" fmla="*/ 0 w 4680000"/>
              <a:gd name="connsiteY5" fmla="*/ 4104905 h 4104905"/>
              <a:gd name="connsiteX6" fmla="*/ 0 w 4680000"/>
              <a:gd name="connsiteY6" fmla="*/ 905 h 4104905"/>
              <a:gd name="connsiteX0" fmla="*/ 0 w 4680000"/>
              <a:gd name="connsiteY0" fmla="*/ 905 h 4104905"/>
              <a:gd name="connsiteX1" fmla="*/ 1514198 w 4680000"/>
              <a:gd name="connsiteY1" fmla="*/ 0 h 4104905"/>
              <a:gd name="connsiteX2" fmla="*/ 4680000 w 4680000"/>
              <a:gd name="connsiteY2" fmla="*/ 905 h 4104905"/>
              <a:gd name="connsiteX3" fmla="*/ 4680000 w 4680000"/>
              <a:gd name="connsiteY3" fmla="*/ 905 h 4104905"/>
              <a:gd name="connsiteX4" fmla="*/ 4680000 w 4680000"/>
              <a:gd name="connsiteY4" fmla="*/ 4104905 h 4104905"/>
              <a:gd name="connsiteX5" fmla="*/ 0 w 4680000"/>
              <a:gd name="connsiteY5" fmla="*/ 4104905 h 4104905"/>
              <a:gd name="connsiteX6" fmla="*/ 0 w 4680000"/>
              <a:gd name="connsiteY6" fmla="*/ 905 h 4104905"/>
              <a:gd name="connsiteX0" fmla="*/ 0 w 4680000"/>
              <a:gd name="connsiteY0" fmla="*/ 905 h 4104905"/>
              <a:gd name="connsiteX1" fmla="*/ 1079093 w 4680000"/>
              <a:gd name="connsiteY1" fmla="*/ 1 h 4104905"/>
              <a:gd name="connsiteX2" fmla="*/ 1514198 w 4680000"/>
              <a:gd name="connsiteY2" fmla="*/ 0 h 4104905"/>
              <a:gd name="connsiteX3" fmla="*/ 4680000 w 4680000"/>
              <a:gd name="connsiteY3" fmla="*/ 905 h 4104905"/>
              <a:gd name="connsiteX4" fmla="*/ 4680000 w 4680000"/>
              <a:gd name="connsiteY4" fmla="*/ 905 h 4104905"/>
              <a:gd name="connsiteX5" fmla="*/ 4680000 w 4680000"/>
              <a:gd name="connsiteY5" fmla="*/ 4104905 h 4104905"/>
              <a:gd name="connsiteX6" fmla="*/ 0 w 4680000"/>
              <a:gd name="connsiteY6" fmla="*/ 4104905 h 4104905"/>
              <a:gd name="connsiteX7" fmla="*/ 0 w 4680000"/>
              <a:gd name="connsiteY7" fmla="*/ 905 h 4104905"/>
              <a:gd name="connsiteX0" fmla="*/ 0 w 4680000"/>
              <a:gd name="connsiteY0" fmla="*/ 905 h 4104905"/>
              <a:gd name="connsiteX1" fmla="*/ 1531194 w 4680000"/>
              <a:gd name="connsiteY1" fmla="*/ 1097960 h 4104905"/>
              <a:gd name="connsiteX2" fmla="*/ 1514198 w 4680000"/>
              <a:gd name="connsiteY2" fmla="*/ 0 h 4104905"/>
              <a:gd name="connsiteX3" fmla="*/ 4680000 w 4680000"/>
              <a:gd name="connsiteY3" fmla="*/ 905 h 4104905"/>
              <a:gd name="connsiteX4" fmla="*/ 4680000 w 4680000"/>
              <a:gd name="connsiteY4" fmla="*/ 905 h 4104905"/>
              <a:gd name="connsiteX5" fmla="*/ 4680000 w 4680000"/>
              <a:gd name="connsiteY5" fmla="*/ 4104905 h 4104905"/>
              <a:gd name="connsiteX6" fmla="*/ 0 w 4680000"/>
              <a:gd name="connsiteY6" fmla="*/ 4104905 h 4104905"/>
              <a:gd name="connsiteX7" fmla="*/ 0 w 4680000"/>
              <a:gd name="connsiteY7" fmla="*/ 905 h 4104905"/>
              <a:gd name="connsiteX0" fmla="*/ 0 w 4680000"/>
              <a:gd name="connsiteY0" fmla="*/ 905 h 4104905"/>
              <a:gd name="connsiteX1" fmla="*/ 810551 w 4680000"/>
              <a:gd name="connsiteY1" fmla="*/ 581273 h 4104905"/>
              <a:gd name="connsiteX2" fmla="*/ 1531194 w 4680000"/>
              <a:gd name="connsiteY2" fmla="*/ 1097960 h 4104905"/>
              <a:gd name="connsiteX3" fmla="*/ 1514198 w 4680000"/>
              <a:gd name="connsiteY3" fmla="*/ 0 h 4104905"/>
              <a:gd name="connsiteX4" fmla="*/ 4680000 w 4680000"/>
              <a:gd name="connsiteY4" fmla="*/ 905 h 4104905"/>
              <a:gd name="connsiteX5" fmla="*/ 4680000 w 4680000"/>
              <a:gd name="connsiteY5" fmla="*/ 905 h 4104905"/>
              <a:gd name="connsiteX6" fmla="*/ 4680000 w 4680000"/>
              <a:gd name="connsiteY6" fmla="*/ 4104905 h 4104905"/>
              <a:gd name="connsiteX7" fmla="*/ 0 w 4680000"/>
              <a:gd name="connsiteY7" fmla="*/ 4104905 h 4104905"/>
              <a:gd name="connsiteX8" fmla="*/ 0 w 4680000"/>
              <a:gd name="connsiteY8" fmla="*/ 905 h 4104905"/>
              <a:gd name="connsiteX0" fmla="*/ 0 w 4680000"/>
              <a:gd name="connsiteY0" fmla="*/ 905 h 4104905"/>
              <a:gd name="connsiteX1" fmla="*/ 807152 w 4680000"/>
              <a:gd name="connsiteY1" fmla="*/ 1104759 h 4104905"/>
              <a:gd name="connsiteX2" fmla="*/ 1531194 w 4680000"/>
              <a:gd name="connsiteY2" fmla="*/ 1097960 h 4104905"/>
              <a:gd name="connsiteX3" fmla="*/ 1514198 w 4680000"/>
              <a:gd name="connsiteY3" fmla="*/ 0 h 4104905"/>
              <a:gd name="connsiteX4" fmla="*/ 4680000 w 4680000"/>
              <a:gd name="connsiteY4" fmla="*/ 905 h 4104905"/>
              <a:gd name="connsiteX5" fmla="*/ 4680000 w 4680000"/>
              <a:gd name="connsiteY5" fmla="*/ 905 h 4104905"/>
              <a:gd name="connsiteX6" fmla="*/ 4680000 w 4680000"/>
              <a:gd name="connsiteY6" fmla="*/ 4104905 h 4104905"/>
              <a:gd name="connsiteX7" fmla="*/ 0 w 4680000"/>
              <a:gd name="connsiteY7" fmla="*/ 4104905 h 4104905"/>
              <a:gd name="connsiteX8" fmla="*/ 0 w 4680000"/>
              <a:gd name="connsiteY8" fmla="*/ 905 h 4104905"/>
              <a:gd name="connsiteX0" fmla="*/ 0 w 4680000"/>
              <a:gd name="connsiteY0" fmla="*/ 905 h 4104905"/>
              <a:gd name="connsiteX1" fmla="*/ 562406 w 4680000"/>
              <a:gd name="connsiteY1" fmla="*/ 778430 h 4104905"/>
              <a:gd name="connsiteX2" fmla="*/ 807152 w 4680000"/>
              <a:gd name="connsiteY2" fmla="*/ 1104759 h 4104905"/>
              <a:gd name="connsiteX3" fmla="*/ 1531194 w 4680000"/>
              <a:gd name="connsiteY3" fmla="*/ 1097960 h 4104905"/>
              <a:gd name="connsiteX4" fmla="*/ 1514198 w 4680000"/>
              <a:gd name="connsiteY4" fmla="*/ 0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790156 w 4680000"/>
              <a:gd name="connsiteY1" fmla="*/ 16997 h 4104905"/>
              <a:gd name="connsiteX2" fmla="*/ 807152 w 4680000"/>
              <a:gd name="connsiteY2" fmla="*/ 1104759 h 4104905"/>
              <a:gd name="connsiteX3" fmla="*/ 1531194 w 4680000"/>
              <a:gd name="connsiteY3" fmla="*/ 1097960 h 4104905"/>
              <a:gd name="connsiteX4" fmla="*/ 1514198 w 4680000"/>
              <a:gd name="connsiteY4" fmla="*/ 0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790156 w 4680000"/>
              <a:gd name="connsiteY1" fmla="*/ 16997 h 4104905"/>
              <a:gd name="connsiteX2" fmla="*/ 807152 w 4680000"/>
              <a:gd name="connsiteY2" fmla="*/ 1104759 h 4104905"/>
              <a:gd name="connsiteX3" fmla="*/ 1439414 w 4680000"/>
              <a:gd name="connsiteY3" fmla="*/ 1074166 h 4104905"/>
              <a:gd name="connsiteX4" fmla="*/ 1514198 w 4680000"/>
              <a:gd name="connsiteY4" fmla="*/ 0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0 h 4104000"/>
              <a:gd name="connsiteX1" fmla="*/ 790156 w 4680000"/>
              <a:gd name="connsiteY1" fmla="*/ 16092 h 4104000"/>
              <a:gd name="connsiteX2" fmla="*/ 807152 w 4680000"/>
              <a:gd name="connsiteY2" fmla="*/ 1103854 h 4104000"/>
              <a:gd name="connsiteX3" fmla="*/ 1439414 w 4680000"/>
              <a:gd name="connsiteY3" fmla="*/ 1073261 h 4104000"/>
              <a:gd name="connsiteX4" fmla="*/ 1442813 w 4680000"/>
              <a:gd name="connsiteY4" fmla="*/ 2495 h 4104000"/>
              <a:gd name="connsiteX5" fmla="*/ 4680000 w 4680000"/>
              <a:gd name="connsiteY5" fmla="*/ 0 h 4104000"/>
              <a:gd name="connsiteX6" fmla="*/ 4680000 w 4680000"/>
              <a:gd name="connsiteY6" fmla="*/ 0 h 4104000"/>
              <a:gd name="connsiteX7" fmla="*/ 4680000 w 4680000"/>
              <a:gd name="connsiteY7" fmla="*/ 4104000 h 4104000"/>
              <a:gd name="connsiteX8" fmla="*/ 0 w 4680000"/>
              <a:gd name="connsiteY8" fmla="*/ 4104000 h 4104000"/>
              <a:gd name="connsiteX9" fmla="*/ 0 w 4680000"/>
              <a:gd name="connsiteY9" fmla="*/ 0 h 4104000"/>
              <a:gd name="connsiteX0" fmla="*/ 0 w 4680000"/>
              <a:gd name="connsiteY0" fmla="*/ 0 h 4104000"/>
              <a:gd name="connsiteX1" fmla="*/ 790156 w 4680000"/>
              <a:gd name="connsiteY1" fmla="*/ 16092 h 4104000"/>
              <a:gd name="connsiteX2" fmla="*/ 436633 w 4680000"/>
              <a:gd name="connsiteY2" fmla="*/ 1083458 h 4104000"/>
              <a:gd name="connsiteX3" fmla="*/ 1439414 w 4680000"/>
              <a:gd name="connsiteY3" fmla="*/ 1073261 h 4104000"/>
              <a:gd name="connsiteX4" fmla="*/ 1442813 w 4680000"/>
              <a:gd name="connsiteY4" fmla="*/ 2495 h 4104000"/>
              <a:gd name="connsiteX5" fmla="*/ 4680000 w 4680000"/>
              <a:gd name="connsiteY5" fmla="*/ 0 h 4104000"/>
              <a:gd name="connsiteX6" fmla="*/ 4680000 w 4680000"/>
              <a:gd name="connsiteY6" fmla="*/ 0 h 4104000"/>
              <a:gd name="connsiteX7" fmla="*/ 4680000 w 4680000"/>
              <a:gd name="connsiteY7" fmla="*/ 4104000 h 4104000"/>
              <a:gd name="connsiteX8" fmla="*/ 0 w 4680000"/>
              <a:gd name="connsiteY8" fmla="*/ 4104000 h 4104000"/>
              <a:gd name="connsiteX9" fmla="*/ 0 w 4680000"/>
              <a:gd name="connsiteY9" fmla="*/ 0 h 4104000"/>
              <a:gd name="connsiteX0" fmla="*/ 0 w 4680000"/>
              <a:gd name="connsiteY0" fmla="*/ 904 h 4104904"/>
              <a:gd name="connsiteX1" fmla="*/ 436633 w 4680000"/>
              <a:gd name="connsiteY1" fmla="*/ 0 h 4104904"/>
              <a:gd name="connsiteX2" fmla="*/ 436633 w 4680000"/>
              <a:gd name="connsiteY2" fmla="*/ 1084362 h 4104904"/>
              <a:gd name="connsiteX3" fmla="*/ 1439414 w 4680000"/>
              <a:gd name="connsiteY3" fmla="*/ 1074165 h 4104904"/>
              <a:gd name="connsiteX4" fmla="*/ 1442813 w 4680000"/>
              <a:gd name="connsiteY4" fmla="*/ 3399 h 4104904"/>
              <a:gd name="connsiteX5" fmla="*/ 4680000 w 4680000"/>
              <a:gd name="connsiteY5" fmla="*/ 904 h 4104904"/>
              <a:gd name="connsiteX6" fmla="*/ 4680000 w 4680000"/>
              <a:gd name="connsiteY6" fmla="*/ 904 h 4104904"/>
              <a:gd name="connsiteX7" fmla="*/ 4680000 w 4680000"/>
              <a:gd name="connsiteY7" fmla="*/ 4104904 h 4104904"/>
              <a:gd name="connsiteX8" fmla="*/ 0 w 4680000"/>
              <a:gd name="connsiteY8" fmla="*/ 4104904 h 4104904"/>
              <a:gd name="connsiteX9" fmla="*/ 0 w 4680000"/>
              <a:gd name="connsiteY9" fmla="*/ 904 h 4104904"/>
              <a:gd name="connsiteX0" fmla="*/ 0 w 4680000"/>
              <a:gd name="connsiteY0" fmla="*/ 904 h 4104904"/>
              <a:gd name="connsiteX1" fmla="*/ 436633 w 4680000"/>
              <a:gd name="connsiteY1" fmla="*/ 0 h 4104904"/>
              <a:gd name="connsiteX2" fmla="*/ 433234 w 4680000"/>
              <a:gd name="connsiteY2" fmla="*/ 1070765 h 4104904"/>
              <a:gd name="connsiteX3" fmla="*/ 1439414 w 4680000"/>
              <a:gd name="connsiteY3" fmla="*/ 1074165 h 4104904"/>
              <a:gd name="connsiteX4" fmla="*/ 1442813 w 4680000"/>
              <a:gd name="connsiteY4" fmla="*/ 3399 h 4104904"/>
              <a:gd name="connsiteX5" fmla="*/ 4680000 w 4680000"/>
              <a:gd name="connsiteY5" fmla="*/ 904 h 4104904"/>
              <a:gd name="connsiteX6" fmla="*/ 4680000 w 4680000"/>
              <a:gd name="connsiteY6" fmla="*/ 904 h 4104904"/>
              <a:gd name="connsiteX7" fmla="*/ 4680000 w 4680000"/>
              <a:gd name="connsiteY7" fmla="*/ 4104904 h 4104904"/>
              <a:gd name="connsiteX8" fmla="*/ 0 w 4680000"/>
              <a:gd name="connsiteY8" fmla="*/ 4104904 h 4104904"/>
              <a:gd name="connsiteX9" fmla="*/ 0 w 4680000"/>
              <a:gd name="connsiteY9" fmla="*/ 904 h 41049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9414 w 4680000"/>
              <a:gd name="connsiteY3" fmla="*/ 107756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2271 w 4680000"/>
              <a:gd name="connsiteY3" fmla="*/ 1082332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9414 w 4680000"/>
              <a:gd name="connsiteY3" fmla="*/ 1082332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4652 w 4680000"/>
              <a:gd name="connsiteY3" fmla="*/ 108471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83700 h 4108304"/>
              <a:gd name="connsiteX3" fmla="*/ 1434652 w 4680000"/>
              <a:gd name="connsiteY3" fmla="*/ 108471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1871 w 4680000"/>
              <a:gd name="connsiteY1" fmla="*/ 5783 h 4108304"/>
              <a:gd name="connsiteX2" fmla="*/ 433234 w 4680000"/>
              <a:gd name="connsiteY2" fmla="*/ 1083700 h 4108304"/>
              <a:gd name="connsiteX3" fmla="*/ 1434652 w 4680000"/>
              <a:gd name="connsiteY3" fmla="*/ 108471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1921 h 4105921"/>
              <a:gd name="connsiteX1" fmla="*/ 431871 w 4680000"/>
              <a:gd name="connsiteY1" fmla="*/ 3400 h 4105921"/>
              <a:gd name="connsiteX2" fmla="*/ 433234 w 4680000"/>
              <a:gd name="connsiteY2" fmla="*/ 1081317 h 4105921"/>
              <a:gd name="connsiteX3" fmla="*/ 1434652 w 4680000"/>
              <a:gd name="connsiteY3" fmla="*/ 1082332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31871 w 4680000"/>
              <a:gd name="connsiteY1" fmla="*/ 3400 h 4105921"/>
              <a:gd name="connsiteX2" fmla="*/ 433234 w 4680000"/>
              <a:gd name="connsiteY2" fmla="*/ 1081317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24728 w 4680000"/>
              <a:gd name="connsiteY1" fmla="*/ 1016 h 4105921"/>
              <a:gd name="connsiteX2" fmla="*/ 433234 w 4680000"/>
              <a:gd name="connsiteY2" fmla="*/ 1081317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31871 w 4680000"/>
              <a:gd name="connsiteY1" fmla="*/ 1016 h 4105921"/>
              <a:gd name="connsiteX2" fmla="*/ 433234 w 4680000"/>
              <a:gd name="connsiteY2" fmla="*/ 1081317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31871 w 4680000"/>
              <a:gd name="connsiteY1" fmla="*/ 1016 h 4105921"/>
              <a:gd name="connsiteX2" fmla="*/ 483869 w 4680000"/>
              <a:gd name="connsiteY2" fmla="*/ 1186262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83869 w 4680000"/>
              <a:gd name="connsiteY2" fmla="*/ 1186262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75864 w 4680000"/>
              <a:gd name="connsiteY2" fmla="*/ 1186262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75864 w 4680000"/>
              <a:gd name="connsiteY2" fmla="*/ 1186262 h 4105921"/>
              <a:gd name="connsiteX3" fmla="*/ 1441796 w 4680000"/>
              <a:gd name="connsiteY3" fmla="*/ 1084717 h 4105921"/>
              <a:gd name="connsiteX4" fmla="*/ 1610529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75864 w 4680000"/>
              <a:gd name="connsiteY2" fmla="*/ 1186262 h 4105921"/>
              <a:gd name="connsiteX3" fmla="*/ 1615234 w 4680000"/>
              <a:gd name="connsiteY3" fmla="*/ 1197010 h 4105921"/>
              <a:gd name="connsiteX4" fmla="*/ 1610529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5864 w 4680000"/>
              <a:gd name="connsiteY2" fmla="*/ 1185246 h 4104905"/>
              <a:gd name="connsiteX3" fmla="*/ 1615234 w 4680000"/>
              <a:gd name="connsiteY3" fmla="*/ 1195994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4 w 4680000"/>
              <a:gd name="connsiteY3" fmla="*/ 1195994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4 w 4680000"/>
              <a:gd name="connsiteY3" fmla="*/ 1185548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4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8534 w 4680000"/>
              <a:gd name="connsiteY4" fmla="*/ 1596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28575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20571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20571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5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1615235 w 4680000"/>
              <a:gd name="connsiteY2" fmla="*/ 1185548 h 4104905"/>
              <a:gd name="connsiteX3" fmla="*/ 1615866 w 4680000"/>
              <a:gd name="connsiteY3" fmla="*/ 6819 h 4104905"/>
              <a:gd name="connsiteX4" fmla="*/ 4680000 w 4680000"/>
              <a:gd name="connsiteY4" fmla="*/ 905 h 4104905"/>
              <a:gd name="connsiteX5" fmla="*/ 4680000 w 4680000"/>
              <a:gd name="connsiteY5" fmla="*/ 905 h 4104905"/>
              <a:gd name="connsiteX6" fmla="*/ 4680000 w 4680000"/>
              <a:gd name="connsiteY6" fmla="*/ 4104905 h 4104905"/>
              <a:gd name="connsiteX7" fmla="*/ 0 w 4680000"/>
              <a:gd name="connsiteY7" fmla="*/ 4104905 h 4104905"/>
              <a:gd name="connsiteX8" fmla="*/ 0 w 4680000"/>
              <a:gd name="connsiteY8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1615866 w 4680000"/>
              <a:gd name="connsiteY2" fmla="*/ 6819 h 4104905"/>
              <a:gd name="connsiteX3" fmla="*/ 4680000 w 4680000"/>
              <a:gd name="connsiteY3" fmla="*/ 905 h 4104905"/>
              <a:gd name="connsiteX4" fmla="*/ 4680000 w 4680000"/>
              <a:gd name="connsiteY4" fmla="*/ 905 h 4104905"/>
              <a:gd name="connsiteX5" fmla="*/ 4680000 w 4680000"/>
              <a:gd name="connsiteY5" fmla="*/ 4104905 h 4104905"/>
              <a:gd name="connsiteX6" fmla="*/ 0 w 4680000"/>
              <a:gd name="connsiteY6" fmla="*/ 4104905 h 4104905"/>
              <a:gd name="connsiteX7" fmla="*/ 0 w 4680000"/>
              <a:gd name="connsiteY7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680000 w 4680000"/>
              <a:gd name="connsiteY2" fmla="*/ 905 h 4104905"/>
              <a:gd name="connsiteX3" fmla="*/ 4680000 w 4680000"/>
              <a:gd name="connsiteY3" fmla="*/ 905 h 4104905"/>
              <a:gd name="connsiteX4" fmla="*/ 4680000 w 4680000"/>
              <a:gd name="connsiteY4" fmla="*/ 4104905 h 4104905"/>
              <a:gd name="connsiteX5" fmla="*/ 0 w 4680000"/>
              <a:gd name="connsiteY5" fmla="*/ 4104905 h 4104905"/>
              <a:gd name="connsiteX6" fmla="*/ 0 w 4680000"/>
              <a:gd name="connsiteY6" fmla="*/ 905 h 4104905"/>
              <a:gd name="connsiteX0" fmla="*/ 0 w 4680000"/>
              <a:gd name="connsiteY0" fmla="*/ -1 h 4103999"/>
              <a:gd name="connsiteX1" fmla="*/ 4680000 w 4680000"/>
              <a:gd name="connsiteY1" fmla="*/ -1 h 4103999"/>
              <a:gd name="connsiteX2" fmla="*/ 4680000 w 4680000"/>
              <a:gd name="connsiteY2" fmla="*/ -1 h 4103999"/>
              <a:gd name="connsiteX3" fmla="*/ 4680000 w 4680000"/>
              <a:gd name="connsiteY3" fmla="*/ 4103999 h 4103999"/>
              <a:gd name="connsiteX4" fmla="*/ 0 w 4680000"/>
              <a:gd name="connsiteY4" fmla="*/ 4103999 h 4103999"/>
              <a:gd name="connsiteX5" fmla="*/ 0 w 4680000"/>
              <a:gd name="connsiteY5" fmla="*/ -1 h 410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80000" h="4103999">
                <a:moveTo>
                  <a:pt x="0" y="-1"/>
                </a:moveTo>
                <a:lnTo>
                  <a:pt x="4680000" y="-1"/>
                </a:lnTo>
                <a:lnTo>
                  <a:pt x="4680000" y="-1"/>
                </a:lnTo>
                <a:lnTo>
                  <a:pt x="4680000" y="4103999"/>
                </a:lnTo>
                <a:lnTo>
                  <a:pt x="0" y="4103999"/>
                </a:lnTo>
                <a:lnTo>
                  <a:pt x="0" y="-1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effectLst>
            <a:outerShdw blurRad="254000" dist="12700" dir="5400000" algn="t" rotWithShape="0">
              <a:prstClr val="black">
                <a:alpha val="20000"/>
              </a:prstClr>
            </a:outerShdw>
          </a:effectLst>
        </p:spPr>
        <p:txBody>
          <a:bodyPr lIns="216000" tIns="72000" rIns="216000" bIns="0" anchor="b" anchorCtr="0">
            <a:noAutofit/>
          </a:bodyPr>
          <a:lstStyle>
            <a:lvl1pPr>
              <a:lnSpc>
                <a:spcPts val="3200"/>
              </a:lnSpc>
              <a:defRPr lang="de-DE" dirty="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128952" y="5256683"/>
            <a:ext cx="1440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3. April 201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07144" y="5256699"/>
            <a:ext cx="4896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WWF Präsentation | Titel | Anlas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640960" y="5256699"/>
            <a:ext cx="360000" cy="144000"/>
          </a:xfrm>
          <a:prstGeom prst="rect">
            <a:avLst/>
          </a:prstGeom>
        </p:spPr>
        <p:txBody>
          <a:bodyPr/>
          <a:lstStyle/>
          <a:p>
            <a:fld id="{E475C7B0-62B8-48D9-B834-62EC2DD669EA}" type="slidenum">
              <a:rPr lang="de-DE" smtClean="0"/>
              <a:t>‹#›</a:t>
            </a:fld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A8F2891-C387-6844-AD55-FDB57F6033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024" y="216123"/>
            <a:ext cx="773055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893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Bild,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128952" y="5256683"/>
            <a:ext cx="1440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3. April 201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07144" y="5256699"/>
            <a:ext cx="4896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WWF Präsentation | Titel | Anlas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640960" y="5256699"/>
            <a:ext cx="360000" cy="144000"/>
          </a:xfrm>
          <a:prstGeom prst="rect">
            <a:avLst/>
          </a:prstGeom>
        </p:spPr>
        <p:txBody>
          <a:bodyPr/>
          <a:lstStyle/>
          <a:p>
            <a:fld id="{E475C7B0-62B8-48D9-B834-62EC2DD669EA}" type="slidenum">
              <a:rPr lang="de-DE" smtClean="0"/>
              <a:t>‹#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217025" cy="5184775"/>
          </a:xfrm>
          <a:custGeom>
            <a:avLst/>
            <a:gdLst/>
            <a:ahLst/>
            <a:cxnLst/>
            <a:rect l="l" t="t" r="r" b="b"/>
            <a:pathLst>
              <a:path w="9217025" h="5184775">
                <a:moveTo>
                  <a:pt x="432048" y="432147"/>
                </a:moveTo>
                <a:lnTo>
                  <a:pt x="432048" y="1368147"/>
                </a:lnTo>
                <a:lnTo>
                  <a:pt x="1260048" y="1368147"/>
                </a:lnTo>
                <a:lnTo>
                  <a:pt x="1260048" y="432147"/>
                </a:lnTo>
                <a:close/>
                <a:moveTo>
                  <a:pt x="0" y="0"/>
                </a:moveTo>
                <a:lnTo>
                  <a:pt x="9217025" y="0"/>
                </a:lnTo>
                <a:lnTo>
                  <a:pt x="9217025" y="5184775"/>
                </a:lnTo>
                <a:lnTo>
                  <a:pt x="0" y="5184775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440000" tIns="1944000" rIns="1440000"/>
          <a:lstStyle>
            <a:lvl1pPr marL="0" indent="0" algn="ctr">
              <a:buNone/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32600" y="2736499"/>
            <a:ext cx="5400000" cy="576000"/>
          </a:xfrm>
          <a:custGeom>
            <a:avLst/>
            <a:gdLst>
              <a:gd name="connsiteX0" fmla="*/ 0 w 4680000"/>
              <a:gd name="connsiteY0" fmla="*/ 0 h 4104000"/>
              <a:gd name="connsiteX1" fmla="*/ 4680000 w 4680000"/>
              <a:gd name="connsiteY1" fmla="*/ 0 h 4104000"/>
              <a:gd name="connsiteX2" fmla="*/ 4680000 w 4680000"/>
              <a:gd name="connsiteY2" fmla="*/ 0 h 4104000"/>
              <a:gd name="connsiteX3" fmla="*/ 4680000 w 4680000"/>
              <a:gd name="connsiteY3" fmla="*/ 4104000 h 4104000"/>
              <a:gd name="connsiteX4" fmla="*/ 0 w 4680000"/>
              <a:gd name="connsiteY4" fmla="*/ 4104000 h 4104000"/>
              <a:gd name="connsiteX5" fmla="*/ 0 w 4680000"/>
              <a:gd name="connsiteY5" fmla="*/ 0 h 4104000"/>
              <a:gd name="connsiteX0" fmla="*/ 0 w 4680000"/>
              <a:gd name="connsiteY0" fmla="*/ 905 h 4104905"/>
              <a:gd name="connsiteX1" fmla="*/ 1514198 w 4680000"/>
              <a:gd name="connsiteY1" fmla="*/ 0 h 4104905"/>
              <a:gd name="connsiteX2" fmla="*/ 4680000 w 4680000"/>
              <a:gd name="connsiteY2" fmla="*/ 905 h 4104905"/>
              <a:gd name="connsiteX3" fmla="*/ 4680000 w 4680000"/>
              <a:gd name="connsiteY3" fmla="*/ 905 h 4104905"/>
              <a:gd name="connsiteX4" fmla="*/ 4680000 w 4680000"/>
              <a:gd name="connsiteY4" fmla="*/ 4104905 h 4104905"/>
              <a:gd name="connsiteX5" fmla="*/ 0 w 4680000"/>
              <a:gd name="connsiteY5" fmla="*/ 4104905 h 4104905"/>
              <a:gd name="connsiteX6" fmla="*/ 0 w 4680000"/>
              <a:gd name="connsiteY6" fmla="*/ 905 h 4104905"/>
              <a:gd name="connsiteX0" fmla="*/ 0 w 4680000"/>
              <a:gd name="connsiteY0" fmla="*/ 905 h 4104905"/>
              <a:gd name="connsiteX1" fmla="*/ 1514198 w 4680000"/>
              <a:gd name="connsiteY1" fmla="*/ 0 h 4104905"/>
              <a:gd name="connsiteX2" fmla="*/ 4680000 w 4680000"/>
              <a:gd name="connsiteY2" fmla="*/ 905 h 4104905"/>
              <a:gd name="connsiteX3" fmla="*/ 4680000 w 4680000"/>
              <a:gd name="connsiteY3" fmla="*/ 905 h 4104905"/>
              <a:gd name="connsiteX4" fmla="*/ 4680000 w 4680000"/>
              <a:gd name="connsiteY4" fmla="*/ 4104905 h 4104905"/>
              <a:gd name="connsiteX5" fmla="*/ 0 w 4680000"/>
              <a:gd name="connsiteY5" fmla="*/ 4104905 h 4104905"/>
              <a:gd name="connsiteX6" fmla="*/ 0 w 4680000"/>
              <a:gd name="connsiteY6" fmla="*/ 905 h 4104905"/>
              <a:gd name="connsiteX0" fmla="*/ 0 w 4680000"/>
              <a:gd name="connsiteY0" fmla="*/ 905 h 4104905"/>
              <a:gd name="connsiteX1" fmla="*/ 1079093 w 4680000"/>
              <a:gd name="connsiteY1" fmla="*/ 1 h 4104905"/>
              <a:gd name="connsiteX2" fmla="*/ 1514198 w 4680000"/>
              <a:gd name="connsiteY2" fmla="*/ 0 h 4104905"/>
              <a:gd name="connsiteX3" fmla="*/ 4680000 w 4680000"/>
              <a:gd name="connsiteY3" fmla="*/ 905 h 4104905"/>
              <a:gd name="connsiteX4" fmla="*/ 4680000 w 4680000"/>
              <a:gd name="connsiteY4" fmla="*/ 905 h 4104905"/>
              <a:gd name="connsiteX5" fmla="*/ 4680000 w 4680000"/>
              <a:gd name="connsiteY5" fmla="*/ 4104905 h 4104905"/>
              <a:gd name="connsiteX6" fmla="*/ 0 w 4680000"/>
              <a:gd name="connsiteY6" fmla="*/ 4104905 h 4104905"/>
              <a:gd name="connsiteX7" fmla="*/ 0 w 4680000"/>
              <a:gd name="connsiteY7" fmla="*/ 905 h 4104905"/>
              <a:gd name="connsiteX0" fmla="*/ 0 w 4680000"/>
              <a:gd name="connsiteY0" fmla="*/ 905 h 4104905"/>
              <a:gd name="connsiteX1" fmla="*/ 1531194 w 4680000"/>
              <a:gd name="connsiteY1" fmla="*/ 1097960 h 4104905"/>
              <a:gd name="connsiteX2" fmla="*/ 1514198 w 4680000"/>
              <a:gd name="connsiteY2" fmla="*/ 0 h 4104905"/>
              <a:gd name="connsiteX3" fmla="*/ 4680000 w 4680000"/>
              <a:gd name="connsiteY3" fmla="*/ 905 h 4104905"/>
              <a:gd name="connsiteX4" fmla="*/ 4680000 w 4680000"/>
              <a:gd name="connsiteY4" fmla="*/ 905 h 4104905"/>
              <a:gd name="connsiteX5" fmla="*/ 4680000 w 4680000"/>
              <a:gd name="connsiteY5" fmla="*/ 4104905 h 4104905"/>
              <a:gd name="connsiteX6" fmla="*/ 0 w 4680000"/>
              <a:gd name="connsiteY6" fmla="*/ 4104905 h 4104905"/>
              <a:gd name="connsiteX7" fmla="*/ 0 w 4680000"/>
              <a:gd name="connsiteY7" fmla="*/ 905 h 4104905"/>
              <a:gd name="connsiteX0" fmla="*/ 0 w 4680000"/>
              <a:gd name="connsiteY0" fmla="*/ 905 h 4104905"/>
              <a:gd name="connsiteX1" fmla="*/ 810551 w 4680000"/>
              <a:gd name="connsiteY1" fmla="*/ 581273 h 4104905"/>
              <a:gd name="connsiteX2" fmla="*/ 1531194 w 4680000"/>
              <a:gd name="connsiteY2" fmla="*/ 1097960 h 4104905"/>
              <a:gd name="connsiteX3" fmla="*/ 1514198 w 4680000"/>
              <a:gd name="connsiteY3" fmla="*/ 0 h 4104905"/>
              <a:gd name="connsiteX4" fmla="*/ 4680000 w 4680000"/>
              <a:gd name="connsiteY4" fmla="*/ 905 h 4104905"/>
              <a:gd name="connsiteX5" fmla="*/ 4680000 w 4680000"/>
              <a:gd name="connsiteY5" fmla="*/ 905 h 4104905"/>
              <a:gd name="connsiteX6" fmla="*/ 4680000 w 4680000"/>
              <a:gd name="connsiteY6" fmla="*/ 4104905 h 4104905"/>
              <a:gd name="connsiteX7" fmla="*/ 0 w 4680000"/>
              <a:gd name="connsiteY7" fmla="*/ 4104905 h 4104905"/>
              <a:gd name="connsiteX8" fmla="*/ 0 w 4680000"/>
              <a:gd name="connsiteY8" fmla="*/ 905 h 4104905"/>
              <a:gd name="connsiteX0" fmla="*/ 0 w 4680000"/>
              <a:gd name="connsiteY0" fmla="*/ 905 h 4104905"/>
              <a:gd name="connsiteX1" fmla="*/ 807152 w 4680000"/>
              <a:gd name="connsiteY1" fmla="*/ 1104759 h 4104905"/>
              <a:gd name="connsiteX2" fmla="*/ 1531194 w 4680000"/>
              <a:gd name="connsiteY2" fmla="*/ 1097960 h 4104905"/>
              <a:gd name="connsiteX3" fmla="*/ 1514198 w 4680000"/>
              <a:gd name="connsiteY3" fmla="*/ 0 h 4104905"/>
              <a:gd name="connsiteX4" fmla="*/ 4680000 w 4680000"/>
              <a:gd name="connsiteY4" fmla="*/ 905 h 4104905"/>
              <a:gd name="connsiteX5" fmla="*/ 4680000 w 4680000"/>
              <a:gd name="connsiteY5" fmla="*/ 905 h 4104905"/>
              <a:gd name="connsiteX6" fmla="*/ 4680000 w 4680000"/>
              <a:gd name="connsiteY6" fmla="*/ 4104905 h 4104905"/>
              <a:gd name="connsiteX7" fmla="*/ 0 w 4680000"/>
              <a:gd name="connsiteY7" fmla="*/ 4104905 h 4104905"/>
              <a:gd name="connsiteX8" fmla="*/ 0 w 4680000"/>
              <a:gd name="connsiteY8" fmla="*/ 905 h 4104905"/>
              <a:gd name="connsiteX0" fmla="*/ 0 w 4680000"/>
              <a:gd name="connsiteY0" fmla="*/ 905 h 4104905"/>
              <a:gd name="connsiteX1" fmla="*/ 562406 w 4680000"/>
              <a:gd name="connsiteY1" fmla="*/ 778430 h 4104905"/>
              <a:gd name="connsiteX2" fmla="*/ 807152 w 4680000"/>
              <a:gd name="connsiteY2" fmla="*/ 1104759 h 4104905"/>
              <a:gd name="connsiteX3" fmla="*/ 1531194 w 4680000"/>
              <a:gd name="connsiteY3" fmla="*/ 1097960 h 4104905"/>
              <a:gd name="connsiteX4" fmla="*/ 1514198 w 4680000"/>
              <a:gd name="connsiteY4" fmla="*/ 0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790156 w 4680000"/>
              <a:gd name="connsiteY1" fmla="*/ 16997 h 4104905"/>
              <a:gd name="connsiteX2" fmla="*/ 807152 w 4680000"/>
              <a:gd name="connsiteY2" fmla="*/ 1104759 h 4104905"/>
              <a:gd name="connsiteX3" fmla="*/ 1531194 w 4680000"/>
              <a:gd name="connsiteY3" fmla="*/ 1097960 h 4104905"/>
              <a:gd name="connsiteX4" fmla="*/ 1514198 w 4680000"/>
              <a:gd name="connsiteY4" fmla="*/ 0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790156 w 4680000"/>
              <a:gd name="connsiteY1" fmla="*/ 16997 h 4104905"/>
              <a:gd name="connsiteX2" fmla="*/ 807152 w 4680000"/>
              <a:gd name="connsiteY2" fmla="*/ 1104759 h 4104905"/>
              <a:gd name="connsiteX3" fmla="*/ 1439414 w 4680000"/>
              <a:gd name="connsiteY3" fmla="*/ 1074166 h 4104905"/>
              <a:gd name="connsiteX4" fmla="*/ 1514198 w 4680000"/>
              <a:gd name="connsiteY4" fmla="*/ 0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0 h 4104000"/>
              <a:gd name="connsiteX1" fmla="*/ 790156 w 4680000"/>
              <a:gd name="connsiteY1" fmla="*/ 16092 h 4104000"/>
              <a:gd name="connsiteX2" fmla="*/ 807152 w 4680000"/>
              <a:gd name="connsiteY2" fmla="*/ 1103854 h 4104000"/>
              <a:gd name="connsiteX3" fmla="*/ 1439414 w 4680000"/>
              <a:gd name="connsiteY3" fmla="*/ 1073261 h 4104000"/>
              <a:gd name="connsiteX4" fmla="*/ 1442813 w 4680000"/>
              <a:gd name="connsiteY4" fmla="*/ 2495 h 4104000"/>
              <a:gd name="connsiteX5" fmla="*/ 4680000 w 4680000"/>
              <a:gd name="connsiteY5" fmla="*/ 0 h 4104000"/>
              <a:gd name="connsiteX6" fmla="*/ 4680000 w 4680000"/>
              <a:gd name="connsiteY6" fmla="*/ 0 h 4104000"/>
              <a:gd name="connsiteX7" fmla="*/ 4680000 w 4680000"/>
              <a:gd name="connsiteY7" fmla="*/ 4104000 h 4104000"/>
              <a:gd name="connsiteX8" fmla="*/ 0 w 4680000"/>
              <a:gd name="connsiteY8" fmla="*/ 4104000 h 4104000"/>
              <a:gd name="connsiteX9" fmla="*/ 0 w 4680000"/>
              <a:gd name="connsiteY9" fmla="*/ 0 h 4104000"/>
              <a:gd name="connsiteX0" fmla="*/ 0 w 4680000"/>
              <a:gd name="connsiteY0" fmla="*/ 0 h 4104000"/>
              <a:gd name="connsiteX1" fmla="*/ 790156 w 4680000"/>
              <a:gd name="connsiteY1" fmla="*/ 16092 h 4104000"/>
              <a:gd name="connsiteX2" fmla="*/ 436633 w 4680000"/>
              <a:gd name="connsiteY2" fmla="*/ 1083458 h 4104000"/>
              <a:gd name="connsiteX3" fmla="*/ 1439414 w 4680000"/>
              <a:gd name="connsiteY3" fmla="*/ 1073261 h 4104000"/>
              <a:gd name="connsiteX4" fmla="*/ 1442813 w 4680000"/>
              <a:gd name="connsiteY4" fmla="*/ 2495 h 4104000"/>
              <a:gd name="connsiteX5" fmla="*/ 4680000 w 4680000"/>
              <a:gd name="connsiteY5" fmla="*/ 0 h 4104000"/>
              <a:gd name="connsiteX6" fmla="*/ 4680000 w 4680000"/>
              <a:gd name="connsiteY6" fmla="*/ 0 h 4104000"/>
              <a:gd name="connsiteX7" fmla="*/ 4680000 w 4680000"/>
              <a:gd name="connsiteY7" fmla="*/ 4104000 h 4104000"/>
              <a:gd name="connsiteX8" fmla="*/ 0 w 4680000"/>
              <a:gd name="connsiteY8" fmla="*/ 4104000 h 4104000"/>
              <a:gd name="connsiteX9" fmla="*/ 0 w 4680000"/>
              <a:gd name="connsiteY9" fmla="*/ 0 h 4104000"/>
              <a:gd name="connsiteX0" fmla="*/ 0 w 4680000"/>
              <a:gd name="connsiteY0" fmla="*/ 904 h 4104904"/>
              <a:gd name="connsiteX1" fmla="*/ 436633 w 4680000"/>
              <a:gd name="connsiteY1" fmla="*/ 0 h 4104904"/>
              <a:gd name="connsiteX2" fmla="*/ 436633 w 4680000"/>
              <a:gd name="connsiteY2" fmla="*/ 1084362 h 4104904"/>
              <a:gd name="connsiteX3" fmla="*/ 1439414 w 4680000"/>
              <a:gd name="connsiteY3" fmla="*/ 1074165 h 4104904"/>
              <a:gd name="connsiteX4" fmla="*/ 1442813 w 4680000"/>
              <a:gd name="connsiteY4" fmla="*/ 3399 h 4104904"/>
              <a:gd name="connsiteX5" fmla="*/ 4680000 w 4680000"/>
              <a:gd name="connsiteY5" fmla="*/ 904 h 4104904"/>
              <a:gd name="connsiteX6" fmla="*/ 4680000 w 4680000"/>
              <a:gd name="connsiteY6" fmla="*/ 904 h 4104904"/>
              <a:gd name="connsiteX7" fmla="*/ 4680000 w 4680000"/>
              <a:gd name="connsiteY7" fmla="*/ 4104904 h 4104904"/>
              <a:gd name="connsiteX8" fmla="*/ 0 w 4680000"/>
              <a:gd name="connsiteY8" fmla="*/ 4104904 h 4104904"/>
              <a:gd name="connsiteX9" fmla="*/ 0 w 4680000"/>
              <a:gd name="connsiteY9" fmla="*/ 904 h 4104904"/>
              <a:gd name="connsiteX0" fmla="*/ 0 w 4680000"/>
              <a:gd name="connsiteY0" fmla="*/ 904 h 4104904"/>
              <a:gd name="connsiteX1" fmla="*/ 436633 w 4680000"/>
              <a:gd name="connsiteY1" fmla="*/ 0 h 4104904"/>
              <a:gd name="connsiteX2" fmla="*/ 433234 w 4680000"/>
              <a:gd name="connsiteY2" fmla="*/ 1070765 h 4104904"/>
              <a:gd name="connsiteX3" fmla="*/ 1439414 w 4680000"/>
              <a:gd name="connsiteY3" fmla="*/ 1074165 h 4104904"/>
              <a:gd name="connsiteX4" fmla="*/ 1442813 w 4680000"/>
              <a:gd name="connsiteY4" fmla="*/ 3399 h 4104904"/>
              <a:gd name="connsiteX5" fmla="*/ 4680000 w 4680000"/>
              <a:gd name="connsiteY5" fmla="*/ 904 h 4104904"/>
              <a:gd name="connsiteX6" fmla="*/ 4680000 w 4680000"/>
              <a:gd name="connsiteY6" fmla="*/ 904 h 4104904"/>
              <a:gd name="connsiteX7" fmla="*/ 4680000 w 4680000"/>
              <a:gd name="connsiteY7" fmla="*/ 4104904 h 4104904"/>
              <a:gd name="connsiteX8" fmla="*/ 0 w 4680000"/>
              <a:gd name="connsiteY8" fmla="*/ 4104904 h 4104904"/>
              <a:gd name="connsiteX9" fmla="*/ 0 w 4680000"/>
              <a:gd name="connsiteY9" fmla="*/ 904 h 41049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9414 w 4680000"/>
              <a:gd name="connsiteY3" fmla="*/ 107756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2271 w 4680000"/>
              <a:gd name="connsiteY3" fmla="*/ 1082332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9414 w 4680000"/>
              <a:gd name="connsiteY3" fmla="*/ 1082332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74165 h 4108304"/>
              <a:gd name="connsiteX3" fmla="*/ 1434652 w 4680000"/>
              <a:gd name="connsiteY3" fmla="*/ 108471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6633 w 4680000"/>
              <a:gd name="connsiteY1" fmla="*/ 3400 h 4108304"/>
              <a:gd name="connsiteX2" fmla="*/ 433234 w 4680000"/>
              <a:gd name="connsiteY2" fmla="*/ 1083700 h 4108304"/>
              <a:gd name="connsiteX3" fmla="*/ 1434652 w 4680000"/>
              <a:gd name="connsiteY3" fmla="*/ 108471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4304 h 4108304"/>
              <a:gd name="connsiteX1" fmla="*/ 431871 w 4680000"/>
              <a:gd name="connsiteY1" fmla="*/ 5783 h 4108304"/>
              <a:gd name="connsiteX2" fmla="*/ 433234 w 4680000"/>
              <a:gd name="connsiteY2" fmla="*/ 1083700 h 4108304"/>
              <a:gd name="connsiteX3" fmla="*/ 1434652 w 4680000"/>
              <a:gd name="connsiteY3" fmla="*/ 1084715 h 4108304"/>
              <a:gd name="connsiteX4" fmla="*/ 1432616 w 4680000"/>
              <a:gd name="connsiteY4" fmla="*/ 0 h 4108304"/>
              <a:gd name="connsiteX5" fmla="*/ 4680000 w 4680000"/>
              <a:gd name="connsiteY5" fmla="*/ 4304 h 4108304"/>
              <a:gd name="connsiteX6" fmla="*/ 4680000 w 4680000"/>
              <a:gd name="connsiteY6" fmla="*/ 4304 h 4108304"/>
              <a:gd name="connsiteX7" fmla="*/ 4680000 w 4680000"/>
              <a:gd name="connsiteY7" fmla="*/ 4108304 h 4108304"/>
              <a:gd name="connsiteX8" fmla="*/ 0 w 4680000"/>
              <a:gd name="connsiteY8" fmla="*/ 4108304 h 4108304"/>
              <a:gd name="connsiteX9" fmla="*/ 0 w 4680000"/>
              <a:gd name="connsiteY9" fmla="*/ 4304 h 4108304"/>
              <a:gd name="connsiteX0" fmla="*/ 0 w 4680000"/>
              <a:gd name="connsiteY0" fmla="*/ 1921 h 4105921"/>
              <a:gd name="connsiteX1" fmla="*/ 431871 w 4680000"/>
              <a:gd name="connsiteY1" fmla="*/ 3400 h 4105921"/>
              <a:gd name="connsiteX2" fmla="*/ 433234 w 4680000"/>
              <a:gd name="connsiteY2" fmla="*/ 1081317 h 4105921"/>
              <a:gd name="connsiteX3" fmla="*/ 1434652 w 4680000"/>
              <a:gd name="connsiteY3" fmla="*/ 1082332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31871 w 4680000"/>
              <a:gd name="connsiteY1" fmla="*/ 3400 h 4105921"/>
              <a:gd name="connsiteX2" fmla="*/ 433234 w 4680000"/>
              <a:gd name="connsiteY2" fmla="*/ 1081317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24728 w 4680000"/>
              <a:gd name="connsiteY1" fmla="*/ 1016 h 4105921"/>
              <a:gd name="connsiteX2" fmla="*/ 433234 w 4680000"/>
              <a:gd name="connsiteY2" fmla="*/ 1081317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31871 w 4680000"/>
              <a:gd name="connsiteY1" fmla="*/ 1016 h 4105921"/>
              <a:gd name="connsiteX2" fmla="*/ 433234 w 4680000"/>
              <a:gd name="connsiteY2" fmla="*/ 1081317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31871 w 4680000"/>
              <a:gd name="connsiteY1" fmla="*/ 1016 h 4105921"/>
              <a:gd name="connsiteX2" fmla="*/ 483869 w 4680000"/>
              <a:gd name="connsiteY2" fmla="*/ 1186262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83869 w 4680000"/>
              <a:gd name="connsiteY2" fmla="*/ 1186262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75864 w 4680000"/>
              <a:gd name="connsiteY2" fmla="*/ 1186262 h 4105921"/>
              <a:gd name="connsiteX3" fmla="*/ 1441796 w 4680000"/>
              <a:gd name="connsiteY3" fmla="*/ 1084717 h 4105921"/>
              <a:gd name="connsiteX4" fmla="*/ 1439760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75864 w 4680000"/>
              <a:gd name="connsiteY2" fmla="*/ 1186262 h 4105921"/>
              <a:gd name="connsiteX3" fmla="*/ 1441796 w 4680000"/>
              <a:gd name="connsiteY3" fmla="*/ 1084717 h 4105921"/>
              <a:gd name="connsiteX4" fmla="*/ 1610529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1921 h 4105921"/>
              <a:gd name="connsiteX1" fmla="*/ 479527 w 4680000"/>
              <a:gd name="connsiteY1" fmla="*/ 1016 h 4105921"/>
              <a:gd name="connsiteX2" fmla="*/ 475864 w 4680000"/>
              <a:gd name="connsiteY2" fmla="*/ 1186262 h 4105921"/>
              <a:gd name="connsiteX3" fmla="*/ 1615234 w 4680000"/>
              <a:gd name="connsiteY3" fmla="*/ 1197010 h 4105921"/>
              <a:gd name="connsiteX4" fmla="*/ 1610529 w 4680000"/>
              <a:gd name="connsiteY4" fmla="*/ 0 h 4105921"/>
              <a:gd name="connsiteX5" fmla="*/ 4680000 w 4680000"/>
              <a:gd name="connsiteY5" fmla="*/ 1921 h 4105921"/>
              <a:gd name="connsiteX6" fmla="*/ 4680000 w 4680000"/>
              <a:gd name="connsiteY6" fmla="*/ 1921 h 4105921"/>
              <a:gd name="connsiteX7" fmla="*/ 4680000 w 4680000"/>
              <a:gd name="connsiteY7" fmla="*/ 4105921 h 4105921"/>
              <a:gd name="connsiteX8" fmla="*/ 0 w 4680000"/>
              <a:gd name="connsiteY8" fmla="*/ 4105921 h 4105921"/>
              <a:gd name="connsiteX9" fmla="*/ 0 w 4680000"/>
              <a:gd name="connsiteY9" fmla="*/ 1921 h 4105921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5864 w 4680000"/>
              <a:gd name="connsiteY2" fmla="*/ 1185246 h 4104905"/>
              <a:gd name="connsiteX3" fmla="*/ 1615234 w 4680000"/>
              <a:gd name="connsiteY3" fmla="*/ 1195994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4 w 4680000"/>
              <a:gd name="connsiteY3" fmla="*/ 1195994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4 w 4680000"/>
              <a:gd name="connsiteY3" fmla="*/ 1185548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4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4207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8534 w 4680000"/>
              <a:gd name="connsiteY4" fmla="*/ 1596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7902 w 4680000"/>
              <a:gd name="connsiteY3" fmla="*/ 1193383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28575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20571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20571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78532 w 4680000"/>
              <a:gd name="connsiteY2" fmla="*/ 1187857 h 4104905"/>
              <a:gd name="connsiteX3" fmla="*/ 1615235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79527 w 4680000"/>
              <a:gd name="connsiteY1" fmla="*/ 0 h 4104905"/>
              <a:gd name="connsiteX2" fmla="*/ 481370 w 4680000"/>
              <a:gd name="connsiteY2" fmla="*/ 1187857 h 4104905"/>
              <a:gd name="connsiteX3" fmla="*/ 1615235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0 h 4104000"/>
              <a:gd name="connsiteX1" fmla="*/ 485204 w 4680000"/>
              <a:gd name="connsiteY1" fmla="*/ 4651 h 4104000"/>
              <a:gd name="connsiteX2" fmla="*/ 481370 w 4680000"/>
              <a:gd name="connsiteY2" fmla="*/ 1186952 h 4104000"/>
              <a:gd name="connsiteX3" fmla="*/ 1615235 w 4680000"/>
              <a:gd name="connsiteY3" fmla="*/ 1184643 h 4104000"/>
              <a:gd name="connsiteX4" fmla="*/ 1615866 w 4680000"/>
              <a:gd name="connsiteY4" fmla="*/ 5914 h 4104000"/>
              <a:gd name="connsiteX5" fmla="*/ 4680000 w 4680000"/>
              <a:gd name="connsiteY5" fmla="*/ 0 h 4104000"/>
              <a:gd name="connsiteX6" fmla="*/ 4680000 w 4680000"/>
              <a:gd name="connsiteY6" fmla="*/ 0 h 4104000"/>
              <a:gd name="connsiteX7" fmla="*/ 4680000 w 4680000"/>
              <a:gd name="connsiteY7" fmla="*/ 4104000 h 4104000"/>
              <a:gd name="connsiteX8" fmla="*/ 0 w 4680000"/>
              <a:gd name="connsiteY8" fmla="*/ 4104000 h 4104000"/>
              <a:gd name="connsiteX9" fmla="*/ 0 w 4680000"/>
              <a:gd name="connsiteY9" fmla="*/ 0 h 4104000"/>
              <a:gd name="connsiteX0" fmla="*/ 0 w 4680000"/>
              <a:gd name="connsiteY0" fmla="*/ 905 h 4104905"/>
              <a:gd name="connsiteX1" fmla="*/ 482365 w 4680000"/>
              <a:gd name="connsiteY1" fmla="*/ 0 h 4104905"/>
              <a:gd name="connsiteX2" fmla="*/ 481370 w 4680000"/>
              <a:gd name="connsiteY2" fmla="*/ 1187857 h 4104905"/>
              <a:gd name="connsiteX3" fmla="*/ 1615235 w 4680000"/>
              <a:gd name="connsiteY3" fmla="*/ 1185548 h 4104905"/>
              <a:gd name="connsiteX4" fmla="*/ 1615866 w 4680000"/>
              <a:gd name="connsiteY4" fmla="*/ 6819 h 4104905"/>
              <a:gd name="connsiteX5" fmla="*/ 4680000 w 4680000"/>
              <a:gd name="connsiteY5" fmla="*/ 905 h 4104905"/>
              <a:gd name="connsiteX6" fmla="*/ 4680000 w 4680000"/>
              <a:gd name="connsiteY6" fmla="*/ 905 h 4104905"/>
              <a:gd name="connsiteX7" fmla="*/ 4680000 w 4680000"/>
              <a:gd name="connsiteY7" fmla="*/ 4104905 h 4104905"/>
              <a:gd name="connsiteX8" fmla="*/ 0 w 4680000"/>
              <a:gd name="connsiteY8" fmla="*/ 4104905 h 4104905"/>
              <a:gd name="connsiteX9" fmla="*/ 0 w 4680000"/>
              <a:gd name="connsiteY9" fmla="*/ 905 h 4104905"/>
              <a:gd name="connsiteX0" fmla="*/ 0 w 4680000"/>
              <a:gd name="connsiteY0" fmla="*/ 905 h 4104905"/>
              <a:gd name="connsiteX1" fmla="*/ 482365 w 4680000"/>
              <a:gd name="connsiteY1" fmla="*/ 0 h 4104905"/>
              <a:gd name="connsiteX2" fmla="*/ 481370 w 4680000"/>
              <a:gd name="connsiteY2" fmla="*/ 1187857 h 4104905"/>
              <a:gd name="connsiteX3" fmla="*/ 1615866 w 4680000"/>
              <a:gd name="connsiteY3" fmla="*/ 6819 h 4104905"/>
              <a:gd name="connsiteX4" fmla="*/ 4680000 w 4680000"/>
              <a:gd name="connsiteY4" fmla="*/ 905 h 4104905"/>
              <a:gd name="connsiteX5" fmla="*/ 4680000 w 4680000"/>
              <a:gd name="connsiteY5" fmla="*/ 905 h 4104905"/>
              <a:gd name="connsiteX6" fmla="*/ 4680000 w 4680000"/>
              <a:gd name="connsiteY6" fmla="*/ 4104905 h 4104905"/>
              <a:gd name="connsiteX7" fmla="*/ 0 w 4680000"/>
              <a:gd name="connsiteY7" fmla="*/ 4104905 h 4104905"/>
              <a:gd name="connsiteX8" fmla="*/ 0 w 4680000"/>
              <a:gd name="connsiteY8" fmla="*/ 905 h 4104905"/>
              <a:gd name="connsiteX0" fmla="*/ 0 w 4680000"/>
              <a:gd name="connsiteY0" fmla="*/ 905 h 4104905"/>
              <a:gd name="connsiteX1" fmla="*/ 482365 w 4680000"/>
              <a:gd name="connsiteY1" fmla="*/ 0 h 4104905"/>
              <a:gd name="connsiteX2" fmla="*/ 481370 w 4680000"/>
              <a:gd name="connsiteY2" fmla="*/ 1187857 h 4104905"/>
              <a:gd name="connsiteX3" fmla="*/ 4680000 w 4680000"/>
              <a:gd name="connsiteY3" fmla="*/ 905 h 4104905"/>
              <a:gd name="connsiteX4" fmla="*/ 4680000 w 4680000"/>
              <a:gd name="connsiteY4" fmla="*/ 905 h 4104905"/>
              <a:gd name="connsiteX5" fmla="*/ 4680000 w 4680000"/>
              <a:gd name="connsiteY5" fmla="*/ 4104905 h 4104905"/>
              <a:gd name="connsiteX6" fmla="*/ 0 w 4680000"/>
              <a:gd name="connsiteY6" fmla="*/ 4104905 h 4104905"/>
              <a:gd name="connsiteX7" fmla="*/ 0 w 4680000"/>
              <a:gd name="connsiteY7" fmla="*/ 905 h 4104905"/>
              <a:gd name="connsiteX0" fmla="*/ 0 w 4680000"/>
              <a:gd name="connsiteY0" fmla="*/ 905 h 4104905"/>
              <a:gd name="connsiteX1" fmla="*/ 482365 w 4680000"/>
              <a:gd name="connsiteY1" fmla="*/ 0 h 4104905"/>
              <a:gd name="connsiteX2" fmla="*/ 4680000 w 4680000"/>
              <a:gd name="connsiteY2" fmla="*/ 905 h 4104905"/>
              <a:gd name="connsiteX3" fmla="*/ 4680000 w 4680000"/>
              <a:gd name="connsiteY3" fmla="*/ 905 h 4104905"/>
              <a:gd name="connsiteX4" fmla="*/ 4680000 w 4680000"/>
              <a:gd name="connsiteY4" fmla="*/ 4104905 h 4104905"/>
              <a:gd name="connsiteX5" fmla="*/ 0 w 4680000"/>
              <a:gd name="connsiteY5" fmla="*/ 4104905 h 4104905"/>
              <a:gd name="connsiteX6" fmla="*/ 0 w 4680000"/>
              <a:gd name="connsiteY6" fmla="*/ 905 h 4104905"/>
              <a:gd name="connsiteX0" fmla="*/ 0 w 4680000"/>
              <a:gd name="connsiteY0" fmla="*/ -1 h 4103999"/>
              <a:gd name="connsiteX1" fmla="*/ 4680000 w 4680000"/>
              <a:gd name="connsiteY1" fmla="*/ -1 h 4103999"/>
              <a:gd name="connsiteX2" fmla="*/ 4680000 w 4680000"/>
              <a:gd name="connsiteY2" fmla="*/ -1 h 4103999"/>
              <a:gd name="connsiteX3" fmla="*/ 4680000 w 4680000"/>
              <a:gd name="connsiteY3" fmla="*/ 4103999 h 4103999"/>
              <a:gd name="connsiteX4" fmla="*/ 0 w 4680000"/>
              <a:gd name="connsiteY4" fmla="*/ 4103999 h 4103999"/>
              <a:gd name="connsiteX5" fmla="*/ 0 w 4680000"/>
              <a:gd name="connsiteY5" fmla="*/ -1 h 410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80000" h="4103999">
                <a:moveTo>
                  <a:pt x="0" y="-1"/>
                </a:moveTo>
                <a:lnTo>
                  <a:pt x="4680000" y="-1"/>
                </a:lnTo>
                <a:lnTo>
                  <a:pt x="4680000" y="-1"/>
                </a:lnTo>
                <a:lnTo>
                  <a:pt x="4680000" y="4103999"/>
                </a:lnTo>
                <a:lnTo>
                  <a:pt x="0" y="4103999"/>
                </a:lnTo>
                <a:lnTo>
                  <a:pt x="0" y="-1"/>
                </a:lnTo>
                <a:close/>
              </a:path>
            </a:pathLst>
          </a:custGeom>
          <a:noFill/>
        </p:spPr>
        <p:txBody>
          <a:bodyPr wrap="none" lIns="0" tIns="0" rIns="0" bIns="0" anchor="t" anchorCtr="0">
            <a:noAutofit/>
          </a:bodyPr>
          <a:lstStyle>
            <a:lvl1pPr>
              <a:lnSpc>
                <a:spcPts val="42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white">
          <a:xfrm>
            <a:off x="432048" y="3312499"/>
            <a:ext cx="5400000" cy="288000"/>
          </a:xfrm>
        </p:spPr>
        <p:txBody>
          <a:bodyPr wrap="none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0" name="WWF-Logo-Vektorgraphik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31800" y="432147"/>
            <a:ext cx="827804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307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128952" y="5256683"/>
            <a:ext cx="1440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3. April 201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07144" y="5256699"/>
            <a:ext cx="4896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WWF Präsentation | Titel | Anlas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640960" y="5256699"/>
            <a:ext cx="360000" cy="144000"/>
          </a:xfrm>
          <a:prstGeom prst="rect">
            <a:avLst/>
          </a:prstGeom>
        </p:spPr>
        <p:txBody>
          <a:bodyPr/>
          <a:lstStyle/>
          <a:p>
            <a:fld id="{E475C7B0-62B8-48D9-B834-62EC2DD669EA}" type="slidenum">
              <a:rPr lang="de-DE" smtClean="0"/>
              <a:t>‹#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217025" cy="5184775"/>
          </a:xfrm>
          <a:custGeom>
            <a:avLst/>
            <a:gdLst/>
            <a:ahLst/>
            <a:cxnLst/>
            <a:rect l="l" t="t" r="r" b="b"/>
            <a:pathLst>
              <a:path w="9217025" h="5184775">
                <a:moveTo>
                  <a:pt x="431800" y="431800"/>
                </a:moveTo>
                <a:lnTo>
                  <a:pt x="431800" y="1367800"/>
                </a:lnTo>
                <a:lnTo>
                  <a:pt x="1259800" y="1367800"/>
                </a:lnTo>
                <a:lnTo>
                  <a:pt x="1259800" y="431800"/>
                </a:lnTo>
                <a:close/>
                <a:moveTo>
                  <a:pt x="0" y="0"/>
                </a:moveTo>
                <a:lnTo>
                  <a:pt x="9217025" y="0"/>
                </a:lnTo>
                <a:lnTo>
                  <a:pt x="9217025" y="5184775"/>
                </a:lnTo>
                <a:lnTo>
                  <a:pt x="0" y="5184775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440000" tIns="1944000" rIns="1440000"/>
          <a:lstStyle>
            <a:lvl1pPr marL="0" indent="0" algn="ctr">
              <a:buNone/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WWF-Logo-Vektorgraphik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31800" y="432251"/>
            <a:ext cx="827804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161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538837-DB6D-4E09-AB25-EF719B572E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48636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538837-DB6D-4E09-AB25-EF719B572E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417124" y="0"/>
            <a:ext cx="315211" cy="51847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421924" cy="5184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4730076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CF4986-98F0-4237-B2F8-FEB20A917A6C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14720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er/Clai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WWF-Logo-Vektorgraphik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31800" y="432204"/>
            <a:ext cx="828000" cy="936221"/>
          </a:xfrm>
          <a:prstGeom prst="rect">
            <a:avLst/>
          </a:prstGeom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200960" y="4824635"/>
            <a:ext cx="1440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3. April 201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07144" y="4824651"/>
            <a:ext cx="4896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WWF Präsentation | Titel | Anlas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640960" y="4824651"/>
            <a:ext cx="360000" cy="144000"/>
          </a:xfrm>
          <a:prstGeom prst="rect">
            <a:avLst/>
          </a:prstGeom>
        </p:spPr>
        <p:txBody>
          <a:bodyPr/>
          <a:lstStyle/>
          <a:p>
            <a:fld id="{E475C7B0-62B8-48D9-B834-62EC2DD669EA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15380" y="215900"/>
            <a:ext cx="8785745" cy="4537075"/>
          </a:xfrm>
          <a:custGeom>
            <a:avLst/>
            <a:gdLst>
              <a:gd name="connsiteX0" fmla="*/ 0 w 8785225"/>
              <a:gd name="connsiteY0" fmla="*/ 0 h 4608513"/>
              <a:gd name="connsiteX1" fmla="*/ 8785225 w 8785225"/>
              <a:gd name="connsiteY1" fmla="*/ 0 h 4608513"/>
              <a:gd name="connsiteX2" fmla="*/ 8785225 w 8785225"/>
              <a:gd name="connsiteY2" fmla="*/ 0 h 4608513"/>
              <a:gd name="connsiteX3" fmla="*/ 8785225 w 8785225"/>
              <a:gd name="connsiteY3" fmla="*/ 4608513 h 4608513"/>
              <a:gd name="connsiteX4" fmla="*/ 8785225 w 8785225"/>
              <a:gd name="connsiteY4" fmla="*/ 4608513 h 4608513"/>
              <a:gd name="connsiteX5" fmla="*/ 0 w 8785225"/>
              <a:gd name="connsiteY5" fmla="*/ 4608513 h 4608513"/>
              <a:gd name="connsiteX6" fmla="*/ 0 w 8785225"/>
              <a:gd name="connsiteY6" fmla="*/ 4608513 h 4608513"/>
              <a:gd name="connsiteX7" fmla="*/ 0 w 8785225"/>
              <a:gd name="connsiteY7" fmla="*/ 0 h 4608513"/>
              <a:gd name="connsiteX8" fmla="*/ 0 w 8785225"/>
              <a:gd name="connsiteY8" fmla="*/ 0 h 4608513"/>
              <a:gd name="connsiteX0" fmla="*/ 0 w 8785225"/>
              <a:gd name="connsiteY0" fmla="*/ 0 h 4608513"/>
              <a:gd name="connsiteX1" fmla="*/ 142446 w 8785225"/>
              <a:gd name="connsiteY1" fmla="*/ 343 h 4608513"/>
              <a:gd name="connsiteX2" fmla="*/ 8785225 w 8785225"/>
              <a:gd name="connsiteY2" fmla="*/ 0 h 4608513"/>
              <a:gd name="connsiteX3" fmla="*/ 8785225 w 8785225"/>
              <a:gd name="connsiteY3" fmla="*/ 0 h 4608513"/>
              <a:gd name="connsiteX4" fmla="*/ 8785225 w 8785225"/>
              <a:gd name="connsiteY4" fmla="*/ 4608513 h 4608513"/>
              <a:gd name="connsiteX5" fmla="*/ 8785225 w 8785225"/>
              <a:gd name="connsiteY5" fmla="*/ 4608513 h 4608513"/>
              <a:gd name="connsiteX6" fmla="*/ 0 w 8785225"/>
              <a:gd name="connsiteY6" fmla="*/ 4608513 h 4608513"/>
              <a:gd name="connsiteX7" fmla="*/ 0 w 8785225"/>
              <a:gd name="connsiteY7" fmla="*/ 4608513 h 4608513"/>
              <a:gd name="connsiteX8" fmla="*/ 0 w 8785225"/>
              <a:gd name="connsiteY8" fmla="*/ 0 h 4608513"/>
              <a:gd name="connsiteX9" fmla="*/ 0 w 8785225"/>
              <a:gd name="connsiteY9" fmla="*/ 0 h 4608513"/>
              <a:gd name="connsiteX0" fmla="*/ 0 w 8785225"/>
              <a:gd name="connsiteY0" fmla="*/ 0 h 4608513"/>
              <a:gd name="connsiteX1" fmla="*/ 228943 w 8785225"/>
              <a:gd name="connsiteY1" fmla="*/ 457543 h 4608513"/>
              <a:gd name="connsiteX2" fmla="*/ 8785225 w 8785225"/>
              <a:gd name="connsiteY2" fmla="*/ 0 h 4608513"/>
              <a:gd name="connsiteX3" fmla="*/ 8785225 w 8785225"/>
              <a:gd name="connsiteY3" fmla="*/ 0 h 4608513"/>
              <a:gd name="connsiteX4" fmla="*/ 8785225 w 8785225"/>
              <a:gd name="connsiteY4" fmla="*/ 4608513 h 4608513"/>
              <a:gd name="connsiteX5" fmla="*/ 8785225 w 8785225"/>
              <a:gd name="connsiteY5" fmla="*/ 4608513 h 4608513"/>
              <a:gd name="connsiteX6" fmla="*/ 0 w 8785225"/>
              <a:gd name="connsiteY6" fmla="*/ 4608513 h 4608513"/>
              <a:gd name="connsiteX7" fmla="*/ 0 w 8785225"/>
              <a:gd name="connsiteY7" fmla="*/ 4608513 h 4608513"/>
              <a:gd name="connsiteX8" fmla="*/ 0 w 8785225"/>
              <a:gd name="connsiteY8" fmla="*/ 0 h 4608513"/>
              <a:gd name="connsiteX9" fmla="*/ 0 w 8785225"/>
              <a:gd name="connsiteY9" fmla="*/ 0 h 4608513"/>
              <a:gd name="connsiteX0" fmla="*/ 0 w 8785225"/>
              <a:gd name="connsiteY0" fmla="*/ 0 h 4608513"/>
              <a:gd name="connsiteX1" fmla="*/ 228943 w 8785225"/>
              <a:gd name="connsiteY1" fmla="*/ 457543 h 4608513"/>
              <a:gd name="connsiteX2" fmla="*/ 593468 w 8785225"/>
              <a:gd name="connsiteY2" fmla="*/ 420473 h 4608513"/>
              <a:gd name="connsiteX3" fmla="*/ 8785225 w 8785225"/>
              <a:gd name="connsiteY3" fmla="*/ 0 h 4608513"/>
              <a:gd name="connsiteX4" fmla="*/ 8785225 w 8785225"/>
              <a:gd name="connsiteY4" fmla="*/ 0 h 4608513"/>
              <a:gd name="connsiteX5" fmla="*/ 8785225 w 8785225"/>
              <a:gd name="connsiteY5" fmla="*/ 4608513 h 4608513"/>
              <a:gd name="connsiteX6" fmla="*/ 8785225 w 8785225"/>
              <a:gd name="connsiteY6" fmla="*/ 4608513 h 4608513"/>
              <a:gd name="connsiteX7" fmla="*/ 0 w 8785225"/>
              <a:gd name="connsiteY7" fmla="*/ 4608513 h 4608513"/>
              <a:gd name="connsiteX8" fmla="*/ 0 w 8785225"/>
              <a:gd name="connsiteY8" fmla="*/ 4608513 h 4608513"/>
              <a:gd name="connsiteX9" fmla="*/ 0 w 8785225"/>
              <a:gd name="connsiteY9" fmla="*/ 0 h 4608513"/>
              <a:gd name="connsiteX10" fmla="*/ 0 w 8785225"/>
              <a:gd name="connsiteY10" fmla="*/ 0 h 4608513"/>
              <a:gd name="connsiteX0" fmla="*/ 0 w 8785225"/>
              <a:gd name="connsiteY0" fmla="*/ 0 h 4608513"/>
              <a:gd name="connsiteX1" fmla="*/ 228943 w 8785225"/>
              <a:gd name="connsiteY1" fmla="*/ 457543 h 4608513"/>
              <a:gd name="connsiteX2" fmla="*/ 222765 w 8785225"/>
              <a:gd name="connsiteY2" fmla="*/ 1409013 h 4608513"/>
              <a:gd name="connsiteX3" fmla="*/ 8785225 w 8785225"/>
              <a:gd name="connsiteY3" fmla="*/ 0 h 4608513"/>
              <a:gd name="connsiteX4" fmla="*/ 8785225 w 8785225"/>
              <a:gd name="connsiteY4" fmla="*/ 0 h 4608513"/>
              <a:gd name="connsiteX5" fmla="*/ 8785225 w 8785225"/>
              <a:gd name="connsiteY5" fmla="*/ 4608513 h 4608513"/>
              <a:gd name="connsiteX6" fmla="*/ 8785225 w 8785225"/>
              <a:gd name="connsiteY6" fmla="*/ 4608513 h 4608513"/>
              <a:gd name="connsiteX7" fmla="*/ 0 w 8785225"/>
              <a:gd name="connsiteY7" fmla="*/ 4608513 h 4608513"/>
              <a:gd name="connsiteX8" fmla="*/ 0 w 8785225"/>
              <a:gd name="connsiteY8" fmla="*/ 4608513 h 4608513"/>
              <a:gd name="connsiteX9" fmla="*/ 0 w 8785225"/>
              <a:gd name="connsiteY9" fmla="*/ 0 h 4608513"/>
              <a:gd name="connsiteX10" fmla="*/ 0 w 8785225"/>
              <a:gd name="connsiteY10" fmla="*/ 0 h 4608513"/>
              <a:gd name="connsiteX0" fmla="*/ 0 w 8785225"/>
              <a:gd name="connsiteY0" fmla="*/ 0 h 4608513"/>
              <a:gd name="connsiteX1" fmla="*/ 228943 w 8785225"/>
              <a:gd name="connsiteY1" fmla="*/ 457543 h 4608513"/>
              <a:gd name="connsiteX2" fmla="*/ 222765 w 8785225"/>
              <a:gd name="connsiteY2" fmla="*/ 1409013 h 4608513"/>
              <a:gd name="connsiteX3" fmla="*/ 1112451 w 8785225"/>
              <a:gd name="connsiteY3" fmla="*/ 1273089 h 4608513"/>
              <a:gd name="connsiteX4" fmla="*/ 8785225 w 8785225"/>
              <a:gd name="connsiteY4" fmla="*/ 0 h 4608513"/>
              <a:gd name="connsiteX5" fmla="*/ 8785225 w 8785225"/>
              <a:gd name="connsiteY5" fmla="*/ 0 h 4608513"/>
              <a:gd name="connsiteX6" fmla="*/ 8785225 w 8785225"/>
              <a:gd name="connsiteY6" fmla="*/ 4608513 h 4608513"/>
              <a:gd name="connsiteX7" fmla="*/ 8785225 w 8785225"/>
              <a:gd name="connsiteY7" fmla="*/ 4608513 h 4608513"/>
              <a:gd name="connsiteX8" fmla="*/ 0 w 8785225"/>
              <a:gd name="connsiteY8" fmla="*/ 4608513 h 4608513"/>
              <a:gd name="connsiteX9" fmla="*/ 0 w 8785225"/>
              <a:gd name="connsiteY9" fmla="*/ 4608513 h 4608513"/>
              <a:gd name="connsiteX10" fmla="*/ 0 w 8785225"/>
              <a:gd name="connsiteY10" fmla="*/ 0 h 4608513"/>
              <a:gd name="connsiteX11" fmla="*/ 0 w 8785225"/>
              <a:gd name="connsiteY11" fmla="*/ 0 h 4608513"/>
              <a:gd name="connsiteX0" fmla="*/ 0 w 8785225"/>
              <a:gd name="connsiteY0" fmla="*/ 0 h 4608513"/>
              <a:gd name="connsiteX1" fmla="*/ 228943 w 8785225"/>
              <a:gd name="connsiteY1" fmla="*/ 457543 h 4608513"/>
              <a:gd name="connsiteX2" fmla="*/ 222765 w 8785225"/>
              <a:gd name="connsiteY2" fmla="*/ 1409013 h 4608513"/>
              <a:gd name="connsiteX3" fmla="*/ 1044489 w 8785225"/>
              <a:gd name="connsiteY3" fmla="*/ 1421370 h 4608513"/>
              <a:gd name="connsiteX4" fmla="*/ 8785225 w 8785225"/>
              <a:gd name="connsiteY4" fmla="*/ 0 h 4608513"/>
              <a:gd name="connsiteX5" fmla="*/ 8785225 w 8785225"/>
              <a:gd name="connsiteY5" fmla="*/ 0 h 4608513"/>
              <a:gd name="connsiteX6" fmla="*/ 8785225 w 8785225"/>
              <a:gd name="connsiteY6" fmla="*/ 4608513 h 4608513"/>
              <a:gd name="connsiteX7" fmla="*/ 8785225 w 8785225"/>
              <a:gd name="connsiteY7" fmla="*/ 4608513 h 4608513"/>
              <a:gd name="connsiteX8" fmla="*/ 0 w 8785225"/>
              <a:gd name="connsiteY8" fmla="*/ 4608513 h 4608513"/>
              <a:gd name="connsiteX9" fmla="*/ 0 w 8785225"/>
              <a:gd name="connsiteY9" fmla="*/ 4608513 h 4608513"/>
              <a:gd name="connsiteX10" fmla="*/ 0 w 8785225"/>
              <a:gd name="connsiteY10" fmla="*/ 0 h 4608513"/>
              <a:gd name="connsiteX11" fmla="*/ 0 w 8785225"/>
              <a:gd name="connsiteY11" fmla="*/ 0 h 4608513"/>
              <a:gd name="connsiteX0" fmla="*/ 0 w 8785225"/>
              <a:gd name="connsiteY0" fmla="*/ 0 h 4608513"/>
              <a:gd name="connsiteX1" fmla="*/ 228943 w 8785225"/>
              <a:gd name="connsiteY1" fmla="*/ 457543 h 4608513"/>
              <a:gd name="connsiteX2" fmla="*/ 222765 w 8785225"/>
              <a:gd name="connsiteY2" fmla="*/ 1409013 h 4608513"/>
              <a:gd name="connsiteX3" fmla="*/ 1044489 w 8785225"/>
              <a:gd name="connsiteY3" fmla="*/ 1421370 h 4608513"/>
              <a:gd name="connsiteX4" fmla="*/ 1557295 w 8785225"/>
              <a:gd name="connsiteY4" fmla="*/ 1334873 h 4608513"/>
              <a:gd name="connsiteX5" fmla="*/ 8785225 w 8785225"/>
              <a:gd name="connsiteY5" fmla="*/ 0 h 4608513"/>
              <a:gd name="connsiteX6" fmla="*/ 8785225 w 8785225"/>
              <a:gd name="connsiteY6" fmla="*/ 0 h 4608513"/>
              <a:gd name="connsiteX7" fmla="*/ 8785225 w 8785225"/>
              <a:gd name="connsiteY7" fmla="*/ 4608513 h 4608513"/>
              <a:gd name="connsiteX8" fmla="*/ 8785225 w 8785225"/>
              <a:gd name="connsiteY8" fmla="*/ 4608513 h 4608513"/>
              <a:gd name="connsiteX9" fmla="*/ 0 w 8785225"/>
              <a:gd name="connsiteY9" fmla="*/ 4608513 h 4608513"/>
              <a:gd name="connsiteX10" fmla="*/ 0 w 8785225"/>
              <a:gd name="connsiteY10" fmla="*/ 4608513 h 4608513"/>
              <a:gd name="connsiteX11" fmla="*/ 0 w 8785225"/>
              <a:gd name="connsiteY11" fmla="*/ 0 h 4608513"/>
              <a:gd name="connsiteX12" fmla="*/ 0 w 8785225"/>
              <a:gd name="connsiteY12" fmla="*/ 0 h 4608513"/>
              <a:gd name="connsiteX0" fmla="*/ 0 w 8785225"/>
              <a:gd name="connsiteY0" fmla="*/ 0 h 4608513"/>
              <a:gd name="connsiteX1" fmla="*/ 228943 w 8785225"/>
              <a:gd name="connsiteY1" fmla="*/ 457543 h 4608513"/>
              <a:gd name="connsiteX2" fmla="*/ 222765 w 8785225"/>
              <a:gd name="connsiteY2" fmla="*/ 1409013 h 4608513"/>
              <a:gd name="connsiteX3" fmla="*/ 1044489 w 8785225"/>
              <a:gd name="connsiteY3" fmla="*/ 1421370 h 4608513"/>
              <a:gd name="connsiteX4" fmla="*/ 1557295 w 8785225"/>
              <a:gd name="connsiteY4" fmla="*/ 1334873 h 4608513"/>
              <a:gd name="connsiteX5" fmla="*/ 1069203 w 8785225"/>
              <a:gd name="connsiteY5" fmla="*/ 463722 h 4608513"/>
              <a:gd name="connsiteX6" fmla="*/ 8785225 w 8785225"/>
              <a:gd name="connsiteY6" fmla="*/ 0 h 4608513"/>
              <a:gd name="connsiteX7" fmla="*/ 8785225 w 8785225"/>
              <a:gd name="connsiteY7" fmla="*/ 0 h 4608513"/>
              <a:gd name="connsiteX8" fmla="*/ 8785225 w 8785225"/>
              <a:gd name="connsiteY8" fmla="*/ 4608513 h 4608513"/>
              <a:gd name="connsiteX9" fmla="*/ 8785225 w 8785225"/>
              <a:gd name="connsiteY9" fmla="*/ 4608513 h 4608513"/>
              <a:gd name="connsiteX10" fmla="*/ 0 w 8785225"/>
              <a:gd name="connsiteY10" fmla="*/ 4608513 h 4608513"/>
              <a:gd name="connsiteX11" fmla="*/ 0 w 8785225"/>
              <a:gd name="connsiteY11" fmla="*/ 4608513 h 4608513"/>
              <a:gd name="connsiteX12" fmla="*/ 0 w 8785225"/>
              <a:gd name="connsiteY12" fmla="*/ 0 h 4608513"/>
              <a:gd name="connsiteX13" fmla="*/ 0 w 8785225"/>
              <a:gd name="connsiteY13" fmla="*/ 0 h 4608513"/>
              <a:gd name="connsiteX0" fmla="*/ 0 w 8785225"/>
              <a:gd name="connsiteY0" fmla="*/ 0 h 4608513"/>
              <a:gd name="connsiteX1" fmla="*/ 228943 w 8785225"/>
              <a:gd name="connsiteY1" fmla="*/ 457543 h 4608513"/>
              <a:gd name="connsiteX2" fmla="*/ 222765 w 8785225"/>
              <a:gd name="connsiteY2" fmla="*/ 1409013 h 4608513"/>
              <a:gd name="connsiteX3" fmla="*/ 1044489 w 8785225"/>
              <a:gd name="connsiteY3" fmla="*/ 1421370 h 4608513"/>
              <a:gd name="connsiteX4" fmla="*/ 1557295 w 8785225"/>
              <a:gd name="connsiteY4" fmla="*/ 1334873 h 4608513"/>
              <a:gd name="connsiteX5" fmla="*/ 235122 w 8785225"/>
              <a:gd name="connsiteY5" fmla="*/ 445187 h 4608513"/>
              <a:gd name="connsiteX6" fmla="*/ 8785225 w 8785225"/>
              <a:gd name="connsiteY6" fmla="*/ 0 h 4608513"/>
              <a:gd name="connsiteX7" fmla="*/ 8785225 w 8785225"/>
              <a:gd name="connsiteY7" fmla="*/ 0 h 4608513"/>
              <a:gd name="connsiteX8" fmla="*/ 8785225 w 8785225"/>
              <a:gd name="connsiteY8" fmla="*/ 4608513 h 4608513"/>
              <a:gd name="connsiteX9" fmla="*/ 8785225 w 8785225"/>
              <a:gd name="connsiteY9" fmla="*/ 4608513 h 4608513"/>
              <a:gd name="connsiteX10" fmla="*/ 0 w 8785225"/>
              <a:gd name="connsiteY10" fmla="*/ 4608513 h 4608513"/>
              <a:gd name="connsiteX11" fmla="*/ 0 w 8785225"/>
              <a:gd name="connsiteY11" fmla="*/ 4608513 h 4608513"/>
              <a:gd name="connsiteX12" fmla="*/ 0 w 8785225"/>
              <a:gd name="connsiteY12" fmla="*/ 0 h 4608513"/>
              <a:gd name="connsiteX13" fmla="*/ 0 w 8785225"/>
              <a:gd name="connsiteY13" fmla="*/ 0 h 4608513"/>
              <a:gd name="connsiteX0" fmla="*/ 175111 w 8960336"/>
              <a:gd name="connsiteY0" fmla="*/ 0 h 4608513"/>
              <a:gd name="connsiteX1" fmla="*/ 404054 w 8960336"/>
              <a:gd name="connsiteY1" fmla="*/ 457543 h 4608513"/>
              <a:gd name="connsiteX2" fmla="*/ 397876 w 8960336"/>
              <a:gd name="connsiteY2" fmla="*/ 1409013 h 4608513"/>
              <a:gd name="connsiteX3" fmla="*/ 1219600 w 8960336"/>
              <a:gd name="connsiteY3" fmla="*/ 1421370 h 4608513"/>
              <a:gd name="connsiteX4" fmla="*/ 1732406 w 8960336"/>
              <a:gd name="connsiteY4" fmla="*/ 1334873 h 4608513"/>
              <a:gd name="connsiteX5" fmla="*/ 1250492 w 8960336"/>
              <a:gd name="connsiteY5" fmla="*/ 457543 h 4608513"/>
              <a:gd name="connsiteX6" fmla="*/ 410233 w 8960336"/>
              <a:gd name="connsiteY6" fmla="*/ 445187 h 4608513"/>
              <a:gd name="connsiteX7" fmla="*/ 8960336 w 8960336"/>
              <a:gd name="connsiteY7" fmla="*/ 0 h 4608513"/>
              <a:gd name="connsiteX8" fmla="*/ 8960336 w 8960336"/>
              <a:gd name="connsiteY8" fmla="*/ 0 h 4608513"/>
              <a:gd name="connsiteX9" fmla="*/ 8960336 w 8960336"/>
              <a:gd name="connsiteY9" fmla="*/ 4608513 h 4608513"/>
              <a:gd name="connsiteX10" fmla="*/ 8960336 w 8960336"/>
              <a:gd name="connsiteY10" fmla="*/ 4608513 h 4608513"/>
              <a:gd name="connsiteX11" fmla="*/ 175111 w 8960336"/>
              <a:gd name="connsiteY11" fmla="*/ 4608513 h 4608513"/>
              <a:gd name="connsiteX12" fmla="*/ 175111 w 8960336"/>
              <a:gd name="connsiteY12" fmla="*/ 4608513 h 4608513"/>
              <a:gd name="connsiteX13" fmla="*/ 175111 w 8960336"/>
              <a:gd name="connsiteY13" fmla="*/ 0 h 4608513"/>
              <a:gd name="connsiteX14" fmla="*/ 175111 w 8960336"/>
              <a:gd name="connsiteY14" fmla="*/ 0 h 4608513"/>
              <a:gd name="connsiteX0" fmla="*/ 117635 w 8902860"/>
              <a:gd name="connsiteY0" fmla="*/ 12013 h 4620526"/>
              <a:gd name="connsiteX1" fmla="*/ 346578 w 8902860"/>
              <a:gd name="connsiteY1" fmla="*/ 469556 h 4620526"/>
              <a:gd name="connsiteX2" fmla="*/ 340400 w 8902860"/>
              <a:gd name="connsiteY2" fmla="*/ 1421026 h 4620526"/>
              <a:gd name="connsiteX3" fmla="*/ 1162124 w 8902860"/>
              <a:gd name="connsiteY3" fmla="*/ 1433383 h 4620526"/>
              <a:gd name="connsiteX4" fmla="*/ 1674930 w 8902860"/>
              <a:gd name="connsiteY4" fmla="*/ 1346886 h 4620526"/>
              <a:gd name="connsiteX5" fmla="*/ 1193016 w 8902860"/>
              <a:gd name="connsiteY5" fmla="*/ 469556 h 4620526"/>
              <a:gd name="connsiteX6" fmla="*/ 420719 w 8902860"/>
              <a:gd name="connsiteY6" fmla="*/ 0 h 4620526"/>
              <a:gd name="connsiteX7" fmla="*/ 8902860 w 8902860"/>
              <a:gd name="connsiteY7" fmla="*/ 12013 h 4620526"/>
              <a:gd name="connsiteX8" fmla="*/ 8902860 w 8902860"/>
              <a:gd name="connsiteY8" fmla="*/ 12013 h 4620526"/>
              <a:gd name="connsiteX9" fmla="*/ 8902860 w 8902860"/>
              <a:gd name="connsiteY9" fmla="*/ 4620526 h 4620526"/>
              <a:gd name="connsiteX10" fmla="*/ 8902860 w 8902860"/>
              <a:gd name="connsiteY10" fmla="*/ 4620526 h 4620526"/>
              <a:gd name="connsiteX11" fmla="*/ 117635 w 8902860"/>
              <a:gd name="connsiteY11" fmla="*/ 4620526 h 4620526"/>
              <a:gd name="connsiteX12" fmla="*/ 117635 w 8902860"/>
              <a:gd name="connsiteY12" fmla="*/ 4620526 h 4620526"/>
              <a:gd name="connsiteX13" fmla="*/ 117635 w 8902860"/>
              <a:gd name="connsiteY13" fmla="*/ 12013 h 4620526"/>
              <a:gd name="connsiteX14" fmla="*/ 117635 w 8902860"/>
              <a:gd name="connsiteY14" fmla="*/ 12013 h 4620526"/>
              <a:gd name="connsiteX0" fmla="*/ 117635 w 8902860"/>
              <a:gd name="connsiteY0" fmla="*/ 12013 h 4620526"/>
              <a:gd name="connsiteX1" fmla="*/ 346578 w 8902860"/>
              <a:gd name="connsiteY1" fmla="*/ 469556 h 4620526"/>
              <a:gd name="connsiteX2" fmla="*/ 340400 w 8902860"/>
              <a:gd name="connsiteY2" fmla="*/ 1421026 h 4620526"/>
              <a:gd name="connsiteX3" fmla="*/ 1162124 w 8902860"/>
              <a:gd name="connsiteY3" fmla="*/ 1433383 h 4620526"/>
              <a:gd name="connsiteX4" fmla="*/ 1193016 w 8902860"/>
              <a:gd name="connsiteY4" fmla="*/ 469556 h 4620526"/>
              <a:gd name="connsiteX5" fmla="*/ 420719 w 8902860"/>
              <a:gd name="connsiteY5" fmla="*/ 0 h 4620526"/>
              <a:gd name="connsiteX6" fmla="*/ 8902860 w 8902860"/>
              <a:gd name="connsiteY6" fmla="*/ 12013 h 4620526"/>
              <a:gd name="connsiteX7" fmla="*/ 8902860 w 8902860"/>
              <a:gd name="connsiteY7" fmla="*/ 12013 h 4620526"/>
              <a:gd name="connsiteX8" fmla="*/ 8902860 w 8902860"/>
              <a:gd name="connsiteY8" fmla="*/ 4620526 h 4620526"/>
              <a:gd name="connsiteX9" fmla="*/ 8902860 w 8902860"/>
              <a:gd name="connsiteY9" fmla="*/ 4620526 h 4620526"/>
              <a:gd name="connsiteX10" fmla="*/ 117635 w 8902860"/>
              <a:gd name="connsiteY10" fmla="*/ 4620526 h 4620526"/>
              <a:gd name="connsiteX11" fmla="*/ 117635 w 8902860"/>
              <a:gd name="connsiteY11" fmla="*/ 4620526 h 4620526"/>
              <a:gd name="connsiteX12" fmla="*/ 117635 w 8902860"/>
              <a:gd name="connsiteY12" fmla="*/ 12013 h 4620526"/>
              <a:gd name="connsiteX13" fmla="*/ 117635 w 8902860"/>
              <a:gd name="connsiteY13" fmla="*/ 12013 h 4620526"/>
              <a:gd name="connsiteX0" fmla="*/ 0 w 8785225"/>
              <a:gd name="connsiteY0" fmla="*/ 12013 h 4620526"/>
              <a:gd name="connsiteX1" fmla="*/ 228943 w 8785225"/>
              <a:gd name="connsiteY1" fmla="*/ 469556 h 4620526"/>
              <a:gd name="connsiteX2" fmla="*/ 222765 w 8785225"/>
              <a:gd name="connsiteY2" fmla="*/ 1421026 h 4620526"/>
              <a:gd name="connsiteX3" fmla="*/ 1044489 w 8785225"/>
              <a:gd name="connsiteY3" fmla="*/ 1433383 h 4620526"/>
              <a:gd name="connsiteX4" fmla="*/ 1075381 w 8785225"/>
              <a:gd name="connsiteY4" fmla="*/ 469556 h 4620526"/>
              <a:gd name="connsiteX5" fmla="*/ 303084 w 8785225"/>
              <a:gd name="connsiteY5" fmla="*/ 0 h 4620526"/>
              <a:gd name="connsiteX6" fmla="*/ 8785225 w 8785225"/>
              <a:gd name="connsiteY6" fmla="*/ 12013 h 4620526"/>
              <a:gd name="connsiteX7" fmla="*/ 8785225 w 8785225"/>
              <a:gd name="connsiteY7" fmla="*/ 12013 h 4620526"/>
              <a:gd name="connsiteX8" fmla="*/ 8785225 w 8785225"/>
              <a:gd name="connsiteY8" fmla="*/ 4620526 h 4620526"/>
              <a:gd name="connsiteX9" fmla="*/ 8785225 w 8785225"/>
              <a:gd name="connsiteY9" fmla="*/ 4620526 h 4620526"/>
              <a:gd name="connsiteX10" fmla="*/ 0 w 8785225"/>
              <a:gd name="connsiteY10" fmla="*/ 4620526 h 4620526"/>
              <a:gd name="connsiteX11" fmla="*/ 0 w 8785225"/>
              <a:gd name="connsiteY11" fmla="*/ 4620526 h 4620526"/>
              <a:gd name="connsiteX12" fmla="*/ 0 w 8785225"/>
              <a:gd name="connsiteY12" fmla="*/ 12013 h 4620526"/>
              <a:gd name="connsiteX13" fmla="*/ 0 w 8785225"/>
              <a:gd name="connsiteY13" fmla="*/ 12013 h 4620526"/>
              <a:gd name="connsiteX0" fmla="*/ 0 w 8785225"/>
              <a:gd name="connsiteY0" fmla="*/ 0 h 4608513"/>
              <a:gd name="connsiteX1" fmla="*/ 228943 w 8785225"/>
              <a:gd name="connsiteY1" fmla="*/ 457543 h 4608513"/>
              <a:gd name="connsiteX2" fmla="*/ 222765 w 8785225"/>
              <a:gd name="connsiteY2" fmla="*/ 1409013 h 4608513"/>
              <a:gd name="connsiteX3" fmla="*/ 1044489 w 8785225"/>
              <a:gd name="connsiteY3" fmla="*/ 1421370 h 4608513"/>
              <a:gd name="connsiteX4" fmla="*/ 1075381 w 8785225"/>
              <a:gd name="connsiteY4" fmla="*/ 457543 h 4608513"/>
              <a:gd name="connsiteX5" fmla="*/ 222765 w 8785225"/>
              <a:gd name="connsiteY5" fmla="*/ 463722 h 4608513"/>
              <a:gd name="connsiteX6" fmla="*/ 8785225 w 8785225"/>
              <a:gd name="connsiteY6" fmla="*/ 0 h 4608513"/>
              <a:gd name="connsiteX7" fmla="*/ 8785225 w 8785225"/>
              <a:gd name="connsiteY7" fmla="*/ 0 h 4608513"/>
              <a:gd name="connsiteX8" fmla="*/ 8785225 w 8785225"/>
              <a:gd name="connsiteY8" fmla="*/ 4608513 h 4608513"/>
              <a:gd name="connsiteX9" fmla="*/ 8785225 w 8785225"/>
              <a:gd name="connsiteY9" fmla="*/ 4608513 h 4608513"/>
              <a:gd name="connsiteX10" fmla="*/ 0 w 8785225"/>
              <a:gd name="connsiteY10" fmla="*/ 4608513 h 4608513"/>
              <a:gd name="connsiteX11" fmla="*/ 0 w 8785225"/>
              <a:gd name="connsiteY11" fmla="*/ 4608513 h 4608513"/>
              <a:gd name="connsiteX12" fmla="*/ 0 w 8785225"/>
              <a:gd name="connsiteY12" fmla="*/ 0 h 4608513"/>
              <a:gd name="connsiteX13" fmla="*/ 0 w 8785225"/>
              <a:gd name="connsiteY13" fmla="*/ 0 h 4608513"/>
              <a:gd name="connsiteX0" fmla="*/ 0 w 8785225"/>
              <a:gd name="connsiteY0" fmla="*/ 0 h 4608513"/>
              <a:gd name="connsiteX1" fmla="*/ 228943 w 8785225"/>
              <a:gd name="connsiteY1" fmla="*/ 457543 h 4608513"/>
              <a:gd name="connsiteX2" fmla="*/ 222765 w 8785225"/>
              <a:gd name="connsiteY2" fmla="*/ 1409013 h 4608513"/>
              <a:gd name="connsiteX3" fmla="*/ 1044489 w 8785225"/>
              <a:gd name="connsiteY3" fmla="*/ 1421370 h 4608513"/>
              <a:gd name="connsiteX4" fmla="*/ 1075381 w 8785225"/>
              <a:gd name="connsiteY4" fmla="*/ 457543 h 4608513"/>
              <a:gd name="connsiteX5" fmla="*/ 222765 w 8785225"/>
              <a:gd name="connsiteY5" fmla="*/ 463722 h 4608513"/>
              <a:gd name="connsiteX6" fmla="*/ 216586 w 8785225"/>
              <a:gd name="connsiteY6" fmla="*/ 451365 h 4608513"/>
              <a:gd name="connsiteX7" fmla="*/ 8785225 w 8785225"/>
              <a:gd name="connsiteY7" fmla="*/ 0 h 4608513"/>
              <a:gd name="connsiteX8" fmla="*/ 8785225 w 8785225"/>
              <a:gd name="connsiteY8" fmla="*/ 0 h 4608513"/>
              <a:gd name="connsiteX9" fmla="*/ 8785225 w 8785225"/>
              <a:gd name="connsiteY9" fmla="*/ 4608513 h 4608513"/>
              <a:gd name="connsiteX10" fmla="*/ 8785225 w 8785225"/>
              <a:gd name="connsiteY10" fmla="*/ 4608513 h 4608513"/>
              <a:gd name="connsiteX11" fmla="*/ 0 w 8785225"/>
              <a:gd name="connsiteY11" fmla="*/ 4608513 h 4608513"/>
              <a:gd name="connsiteX12" fmla="*/ 0 w 8785225"/>
              <a:gd name="connsiteY12" fmla="*/ 4608513 h 4608513"/>
              <a:gd name="connsiteX13" fmla="*/ 0 w 8785225"/>
              <a:gd name="connsiteY13" fmla="*/ 0 h 4608513"/>
              <a:gd name="connsiteX14" fmla="*/ 0 w 8785225"/>
              <a:gd name="connsiteY14" fmla="*/ 0 h 4608513"/>
              <a:gd name="connsiteX0" fmla="*/ 5836 w 8791061"/>
              <a:gd name="connsiteY0" fmla="*/ 0 h 4608513"/>
              <a:gd name="connsiteX1" fmla="*/ 234779 w 8791061"/>
              <a:gd name="connsiteY1" fmla="*/ 457543 h 4608513"/>
              <a:gd name="connsiteX2" fmla="*/ 228601 w 8791061"/>
              <a:gd name="connsiteY2" fmla="*/ 1409013 h 4608513"/>
              <a:gd name="connsiteX3" fmla="*/ 1050325 w 8791061"/>
              <a:gd name="connsiteY3" fmla="*/ 1421370 h 4608513"/>
              <a:gd name="connsiteX4" fmla="*/ 1081217 w 8791061"/>
              <a:gd name="connsiteY4" fmla="*/ 457543 h 4608513"/>
              <a:gd name="connsiteX5" fmla="*/ 228601 w 8791061"/>
              <a:gd name="connsiteY5" fmla="*/ 463722 h 4608513"/>
              <a:gd name="connsiteX6" fmla="*/ 0 w 8791061"/>
              <a:gd name="connsiteY6" fmla="*/ 18879 h 4608513"/>
              <a:gd name="connsiteX7" fmla="*/ 8791061 w 8791061"/>
              <a:gd name="connsiteY7" fmla="*/ 0 h 4608513"/>
              <a:gd name="connsiteX8" fmla="*/ 8791061 w 8791061"/>
              <a:gd name="connsiteY8" fmla="*/ 0 h 4608513"/>
              <a:gd name="connsiteX9" fmla="*/ 8791061 w 8791061"/>
              <a:gd name="connsiteY9" fmla="*/ 4608513 h 4608513"/>
              <a:gd name="connsiteX10" fmla="*/ 8791061 w 8791061"/>
              <a:gd name="connsiteY10" fmla="*/ 4608513 h 4608513"/>
              <a:gd name="connsiteX11" fmla="*/ 5836 w 8791061"/>
              <a:gd name="connsiteY11" fmla="*/ 4608513 h 4608513"/>
              <a:gd name="connsiteX12" fmla="*/ 5836 w 8791061"/>
              <a:gd name="connsiteY12" fmla="*/ 4608513 h 4608513"/>
              <a:gd name="connsiteX13" fmla="*/ 5836 w 8791061"/>
              <a:gd name="connsiteY13" fmla="*/ 0 h 4608513"/>
              <a:gd name="connsiteX14" fmla="*/ 5836 w 8791061"/>
              <a:gd name="connsiteY14" fmla="*/ 0 h 4608513"/>
              <a:gd name="connsiteX0" fmla="*/ 520 w 8785745"/>
              <a:gd name="connsiteY0" fmla="*/ 0 h 4608513"/>
              <a:gd name="connsiteX1" fmla="*/ 229463 w 8785745"/>
              <a:gd name="connsiteY1" fmla="*/ 457543 h 4608513"/>
              <a:gd name="connsiteX2" fmla="*/ 223285 w 8785745"/>
              <a:gd name="connsiteY2" fmla="*/ 1409013 h 4608513"/>
              <a:gd name="connsiteX3" fmla="*/ 1045009 w 8785745"/>
              <a:gd name="connsiteY3" fmla="*/ 1421370 h 4608513"/>
              <a:gd name="connsiteX4" fmla="*/ 1075901 w 8785745"/>
              <a:gd name="connsiteY4" fmla="*/ 457543 h 4608513"/>
              <a:gd name="connsiteX5" fmla="*/ 223285 w 8785745"/>
              <a:gd name="connsiteY5" fmla="*/ 46372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29463 w 8785745"/>
              <a:gd name="connsiteY1" fmla="*/ 457543 h 4608513"/>
              <a:gd name="connsiteX2" fmla="*/ 223285 w 8785745"/>
              <a:gd name="connsiteY2" fmla="*/ 1409013 h 4608513"/>
              <a:gd name="connsiteX3" fmla="*/ 1066274 w 8785745"/>
              <a:gd name="connsiteY3" fmla="*/ 1408080 h 4608513"/>
              <a:gd name="connsiteX4" fmla="*/ 1075901 w 8785745"/>
              <a:gd name="connsiteY4" fmla="*/ 457543 h 4608513"/>
              <a:gd name="connsiteX5" fmla="*/ 223285 w 8785745"/>
              <a:gd name="connsiteY5" fmla="*/ 46372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29463 w 8785745"/>
              <a:gd name="connsiteY1" fmla="*/ 457543 h 4608513"/>
              <a:gd name="connsiteX2" fmla="*/ 223285 w 8785745"/>
              <a:gd name="connsiteY2" fmla="*/ 1409013 h 4608513"/>
              <a:gd name="connsiteX3" fmla="*/ 1071591 w 8785745"/>
              <a:gd name="connsiteY3" fmla="*/ 1408080 h 4608513"/>
              <a:gd name="connsiteX4" fmla="*/ 1075901 w 8785745"/>
              <a:gd name="connsiteY4" fmla="*/ 457543 h 4608513"/>
              <a:gd name="connsiteX5" fmla="*/ 223285 w 8785745"/>
              <a:gd name="connsiteY5" fmla="*/ 46372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29463 w 8785745"/>
              <a:gd name="connsiteY1" fmla="*/ 457543 h 4608513"/>
              <a:gd name="connsiteX2" fmla="*/ 223285 w 8785745"/>
              <a:gd name="connsiteY2" fmla="*/ 1409013 h 4608513"/>
              <a:gd name="connsiteX3" fmla="*/ 1071591 w 8785745"/>
              <a:gd name="connsiteY3" fmla="*/ 1408080 h 4608513"/>
              <a:gd name="connsiteX4" fmla="*/ 1081217 w 8785745"/>
              <a:gd name="connsiteY4" fmla="*/ 446910 h 4608513"/>
              <a:gd name="connsiteX5" fmla="*/ 223285 w 8785745"/>
              <a:gd name="connsiteY5" fmla="*/ 46372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29463 w 8785745"/>
              <a:gd name="connsiteY1" fmla="*/ 457543 h 4608513"/>
              <a:gd name="connsiteX2" fmla="*/ 223285 w 8785745"/>
              <a:gd name="connsiteY2" fmla="*/ 1409013 h 4608513"/>
              <a:gd name="connsiteX3" fmla="*/ 1082223 w 8785745"/>
              <a:gd name="connsiteY3" fmla="*/ 1408080 h 4608513"/>
              <a:gd name="connsiteX4" fmla="*/ 1081217 w 8785745"/>
              <a:gd name="connsiteY4" fmla="*/ 446910 h 4608513"/>
              <a:gd name="connsiteX5" fmla="*/ 223285 w 8785745"/>
              <a:gd name="connsiteY5" fmla="*/ 46372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29463 w 8785745"/>
              <a:gd name="connsiteY1" fmla="*/ 457543 h 4608513"/>
              <a:gd name="connsiteX2" fmla="*/ 223285 w 8785745"/>
              <a:gd name="connsiteY2" fmla="*/ 1409013 h 4608513"/>
              <a:gd name="connsiteX3" fmla="*/ 1082223 w 8785745"/>
              <a:gd name="connsiteY3" fmla="*/ 1408080 h 4608513"/>
              <a:gd name="connsiteX4" fmla="*/ 1081217 w 8785745"/>
              <a:gd name="connsiteY4" fmla="*/ 446910 h 4608513"/>
              <a:gd name="connsiteX5" fmla="*/ 175438 w 8785745"/>
              <a:gd name="connsiteY5" fmla="*/ 46372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23285 w 8785745"/>
              <a:gd name="connsiteY2" fmla="*/ 1409013 h 4608513"/>
              <a:gd name="connsiteX3" fmla="*/ 1082223 w 8785745"/>
              <a:gd name="connsiteY3" fmla="*/ 1408080 h 4608513"/>
              <a:gd name="connsiteX4" fmla="*/ 1081217 w 8785745"/>
              <a:gd name="connsiteY4" fmla="*/ 446910 h 4608513"/>
              <a:gd name="connsiteX5" fmla="*/ 175438 w 8785745"/>
              <a:gd name="connsiteY5" fmla="*/ 46372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23285 w 8785745"/>
              <a:gd name="connsiteY2" fmla="*/ 1409013 h 4608513"/>
              <a:gd name="connsiteX3" fmla="*/ 1082223 w 8785745"/>
              <a:gd name="connsiteY3" fmla="*/ 1408080 h 4608513"/>
              <a:gd name="connsiteX4" fmla="*/ 1081217 w 8785745"/>
              <a:gd name="connsiteY4" fmla="*/ 446910 h 4608513"/>
              <a:gd name="connsiteX5" fmla="*/ 223285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23285 w 8785745"/>
              <a:gd name="connsiteY2" fmla="*/ 1409013 h 4608513"/>
              <a:gd name="connsiteX3" fmla="*/ 1082223 w 8785745"/>
              <a:gd name="connsiteY3" fmla="*/ 1408080 h 4608513"/>
              <a:gd name="connsiteX4" fmla="*/ 1075901 w 8785745"/>
              <a:gd name="connsiteY4" fmla="*/ 436278 h 4608513"/>
              <a:gd name="connsiteX5" fmla="*/ 223285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6141 w 8785745"/>
              <a:gd name="connsiteY2" fmla="*/ 1401869 h 4608513"/>
              <a:gd name="connsiteX3" fmla="*/ 1082223 w 8785745"/>
              <a:gd name="connsiteY3" fmla="*/ 1408080 h 4608513"/>
              <a:gd name="connsiteX4" fmla="*/ 1075901 w 8785745"/>
              <a:gd name="connsiteY4" fmla="*/ 436278 h 4608513"/>
              <a:gd name="connsiteX5" fmla="*/ 223285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08080 h 4608513"/>
              <a:gd name="connsiteX4" fmla="*/ 1075901 w 8785745"/>
              <a:gd name="connsiteY4" fmla="*/ 436278 h 4608513"/>
              <a:gd name="connsiteX5" fmla="*/ 223285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08080 h 4608513"/>
              <a:gd name="connsiteX4" fmla="*/ 1078282 w 8785745"/>
              <a:gd name="connsiteY4" fmla="*/ 431515 h 4608513"/>
              <a:gd name="connsiteX5" fmla="*/ 223285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08080 h 4608513"/>
              <a:gd name="connsiteX4" fmla="*/ 1085425 w 8785745"/>
              <a:gd name="connsiteY4" fmla="*/ 436277 h 4608513"/>
              <a:gd name="connsiteX5" fmla="*/ 223285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08080 h 4608513"/>
              <a:gd name="connsiteX4" fmla="*/ 1080586 w 8785745"/>
              <a:gd name="connsiteY4" fmla="*/ 431439 h 4608513"/>
              <a:gd name="connsiteX5" fmla="*/ 223285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08080 h 4608513"/>
              <a:gd name="connsiteX4" fmla="*/ 1080586 w 8785745"/>
              <a:gd name="connsiteY4" fmla="*/ 431439 h 4608513"/>
              <a:gd name="connsiteX5" fmla="*/ 220866 w 8785745"/>
              <a:gd name="connsiteY5" fmla="*/ 432063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08080 h 4608513"/>
              <a:gd name="connsiteX4" fmla="*/ 1080586 w 8785745"/>
              <a:gd name="connsiteY4" fmla="*/ 431439 h 4608513"/>
              <a:gd name="connsiteX5" fmla="*/ 218447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08080 h 4608513"/>
              <a:gd name="connsiteX4" fmla="*/ 1083005 w 8785745"/>
              <a:gd name="connsiteY4" fmla="*/ 429020 h 4608513"/>
              <a:gd name="connsiteX5" fmla="*/ 218447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08080 h 4608513"/>
              <a:gd name="connsiteX4" fmla="*/ 1085424 w 8785745"/>
              <a:gd name="connsiteY4" fmla="*/ 431439 h 4608513"/>
              <a:gd name="connsiteX5" fmla="*/ 218447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08080 h 4608513"/>
              <a:gd name="connsiteX4" fmla="*/ 1080585 w 8785745"/>
              <a:gd name="connsiteY4" fmla="*/ 431439 h 4608513"/>
              <a:gd name="connsiteX5" fmla="*/ 218447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08080 h 4608513"/>
              <a:gd name="connsiteX4" fmla="*/ 1083005 w 8785745"/>
              <a:gd name="connsiteY4" fmla="*/ 429020 h 4608513"/>
              <a:gd name="connsiteX5" fmla="*/ 218447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08080 h 4608513"/>
              <a:gd name="connsiteX4" fmla="*/ 1075747 w 8785745"/>
              <a:gd name="connsiteY4" fmla="*/ 433858 h 4608513"/>
              <a:gd name="connsiteX5" fmla="*/ 218447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05661 h 4608513"/>
              <a:gd name="connsiteX4" fmla="*/ 1075747 w 8785745"/>
              <a:gd name="connsiteY4" fmla="*/ 433858 h 4608513"/>
              <a:gd name="connsiteX5" fmla="*/ 218447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12918 h 4608513"/>
              <a:gd name="connsiteX4" fmla="*/ 1075747 w 8785745"/>
              <a:gd name="connsiteY4" fmla="*/ 433858 h 4608513"/>
              <a:gd name="connsiteX5" fmla="*/ 218447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12918 h 4608513"/>
              <a:gd name="connsiteX4" fmla="*/ 1083004 w 8785745"/>
              <a:gd name="connsiteY4" fmla="*/ 436277 h 4608513"/>
              <a:gd name="connsiteX5" fmla="*/ 218447 w 8785745"/>
              <a:gd name="connsiteY5" fmla="*/ 434482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12918 h 4608513"/>
              <a:gd name="connsiteX4" fmla="*/ 1083004 w 8785745"/>
              <a:gd name="connsiteY4" fmla="*/ 436277 h 4608513"/>
              <a:gd name="connsiteX5" fmla="*/ 216028 w 8785745"/>
              <a:gd name="connsiteY5" fmla="*/ 432063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12918 h 4608513"/>
              <a:gd name="connsiteX4" fmla="*/ 1083004 w 8785745"/>
              <a:gd name="connsiteY4" fmla="*/ 433858 h 4608513"/>
              <a:gd name="connsiteX5" fmla="*/ 216028 w 8785745"/>
              <a:gd name="connsiteY5" fmla="*/ 432063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12918 h 4608513"/>
              <a:gd name="connsiteX4" fmla="*/ 1080585 w 8785745"/>
              <a:gd name="connsiteY4" fmla="*/ 426601 h 4608513"/>
              <a:gd name="connsiteX5" fmla="*/ 216028 w 8785745"/>
              <a:gd name="connsiteY5" fmla="*/ 432063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12918 h 4608513"/>
              <a:gd name="connsiteX4" fmla="*/ 1083005 w 8785745"/>
              <a:gd name="connsiteY4" fmla="*/ 429020 h 4608513"/>
              <a:gd name="connsiteX5" fmla="*/ 216028 w 8785745"/>
              <a:gd name="connsiteY5" fmla="*/ 432063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12918 h 4608513"/>
              <a:gd name="connsiteX4" fmla="*/ 1083005 w 8785745"/>
              <a:gd name="connsiteY4" fmla="*/ 429020 h 4608513"/>
              <a:gd name="connsiteX5" fmla="*/ 216028 w 8785745"/>
              <a:gd name="connsiteY5" fmla="*/ 210475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82223 w 8785745"/>
              <a:gd name="connsiteY3" fmla="*/ 1412918 h 4608513"/>
              <a:gd name="connsiteX4" fmla="*/ 1052151 w 8785745"/>
              <a:gd name="connsiteY4" fmla="*/ 215847 h 4608513"/>
              <a:gd name="connsiteX5" fmla="*/ 216028 w 8785745"/>
              <a:gd name="connsiteY5" fmla="*/ 210475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42954 w 8785745"/>
              <a:gd name="connsiteY3" fmla="*/ 1421332 h 4608513"/>
              <a:gd name="connsiteX4" fmla="*/ 1052151 w 8785745"/>
              <a:gd name="connsiteY4" fmla="*/ 215847 h 4608513"/>
              <a:gd name="connsiteX5" fmla="*/ 216028 w 8785745"/>
              <a:gd name="connsiteY5" fmla="*/ 210475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8522 w 8785745"/>
              <a:gd name="connsiteY2" fmla="*/ 1413775 h 4608513"/>
              <a:gd name="connsiteX3" fmla="*/ 1042954 w 8785745"/>
              <a:gd name="connsiteY3" fmla="*/ 1157670 h 4608513"/>
              <a:gd name="connsiteX4" fmla="*/ 1052151 w 8785745"/>
              <a:gd name="connsiteY4" fmla="*/ 215847 h 4608513"/>
              <a:gd name="connsiteX5" fmla="*/ 216028 w 8785745"/>
              <a:gd name="connsiteY5" fmla="*/ 210475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8830 w 8785745"/>
              <a:gd name="connsiteY1" fmla="*/ 430961 h 4608513"/>
              <a:gd name="connsiteX2" fmla="*/ 212912 w 8785745"/>
              <a:gd name="connsiteY2" fmla="*/ 1161333 h 4608513"/>
              <a:gd name="connsiteX3" fmla="*/ 1042954 w 8785745"/>
              <a:gd name="connsiteY3" fmla="*/ 1157670 h 4608513"/>
              <a:gd name="connsiteX4" fmla="*/ 1052151 w 8785745"/>
              <a:gd name="connsiteY4" fmla="*/ 215847 h 4608513"/>
              <a:gd name="connsiteX5" fmla="*/ 216028 w 8785745"/>
              <a:gd name="connsiteY5" fmla="*/ 210475 h 4608513"/>
              <a:gd name="connsiteX6" fmla="*/ 0 w 8785745"/>
              <a:gd name="connsiteY6" fmla="*/ 272 h 4608513"/>
              <a:gd name="connsiteX7" fmla="*/ 8785745 w 8785745"/>
              <a:gd name="connsiteY7" fmla="*/ 0 h 4608513"/>
              <a:gd name="connsiteX8" fmla="*/ 8785745 w 8785745"/>
              <a:gd name="connsiteY8" fmla="*/ 0 h 4608513"/>
              <a:gd name="connsiteX9" fmla="*/ 8785745 w 8785745"/>
              <a:gd name="connsiteY9" fmla="*/ 4608513 h 4608513"/>
              <a:gd name="connsiteX10" fmla="*/ 8785745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4608513 h 4608513"/>
              <a:gd name="connsiteX13" fmla="*/ 520 w 8785745"/>
              <a:gd name="connsiteY13" fmla="*/ 0 h 4608513"/>
              <a:gd name="connsiteX14" fmla="*/ 520 w 8785745"/>
              <a:gd name="connsiteY14" fmla="*/ 0 h 4608513"/>
              <a:gd name="connsiteX0" fmla="*/ 520 w 8785745"/>
              <a:gd name="connsiteY0" fmla="*/ 0 h 4608513"/>
              <a:gd name="connsiteX1" fmla="*/ 212912 w 8785745"/>
              <a:gd name="connsiteY1" fmla="*/ 1161333 h 4608513"/>
              <a:gd name="connsiteX2" fmla="*/ 1042954 w 8785745"/>
              <a:gd name="connsiteY2" fmla="*/ 1157670 h 4608513"/>
              <a:gd name="connsiteX3" fmla="*/ 1052151 w 8785745"/>
              <a:gd name="connsiteY3" fmla="*/ 215847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520 w 8785745"/>
              <a:gd name="connsiteY13" fmla="*/ 0 h 4608513"/>
              <a:gd name="connsiteX0" fmla="*/ 222108 w 8785745"/>
              <a:gd name="connsiteY0" fmla="*/ 196343 h 4608513"/>
              <a:gd name="connsiteX1" fmla="*/ 212912 w 8785745"/>
              <a:gd name="connsiteY1" fmla="*/ 1161333 h 4608513"/>
              <a:gd name="connsiteX2" fmla="*/ 1042954 w 8785745"/>
              <a:gd name="connsiteY2" fmla="*/ 1157670 h 4608513"/>
              <a:gd name="connsiteX3" fmla="*/ 1052151 w 8785745"/>
              <a:gd name="connsiteY3" fmla="*/ 215847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22108 w 8785745"/>
              <a:gd name="connsiteY13" fmla="*/ 196343 h 4608513"/>
              <a:gd name="connsiteX0" fmla="*/ 219303 w 8785745"/>
              <a:gd name="connsiteY0" fmla="*/ 207563 h 4608513"/>
              <a:gd name="connsiteX1" fmla="*/ 212912 w 8785745"/>
              <a:gd name="connsiteY1" fmla="*/ 1161333 h 4608513"/>
              <a:gd name="connsiteX2" fmla="*/ 1042954 w 8785745"/>
              <a:gd name="connsiteY2" fmla="*/ 1157670 h 4608513"/>
              <a:gd name="connsiteX3" fmla="*/ 1052151 w 8785745"/>
              <a:gd name="connsiteY3" fmla="*/ 215847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9303 w 8785745"/>
              <a:gd name="connsiteY13" fmla="*/ 207563 h 4608513"/>
              <a:gd name="connsiteX0" fmla="*/ 197531 w 8785745"/>
              <a:gd name="connsiteY0" fmla="*/ 209983 h 4608513"/>
              <a:gd name="connsiteX1" fmla="*/ 212912 w 8785745"/>
              <a:gd name="connsiteY1" fmla="*/ 1161333 h 4608513"/>
              <a:gd name="connsiteX2" fmla="*/ 1042954 w 8785745"/>
              <a:gd name="connsiteY2" fmla="*/ 1157670 h 4608513"/>
              <a:gd name="connsiteX3" fmla="*/ 1052151 w 8785745"/>
              <a:gd name="connsiteY3" fmla="*/ 215847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197531 w 8785745"/>
              <a:gd name="connsiteY13" fmla="*/ 209983 h 4608513"/>
              <a:gd name="connsiteX0" fmla="*/ 216884 w 8785745"/>
              <a:gd name="connsiteY0" fmla="*/ 212402 h 4608513"/>
              <a:gd name="connsiteX1" fmla="*/ 212912 w 8785745"/>
              <a:gd name="connsiteY1" fmla="*/ 1161333 h 4608513"/>
              <a:gd name="connsiteX2" fmla="*/ 1042954 w 8785745"/>
              <a:gd name="connsiteY2" fmla="*/ 1157670 h 4608513"/>
              <a:gd name="connsiteX3" fmla="*/ 1052151 w 8785745"/>
              <a:gd name="connsiteY3" fmla="*/ 215847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6884 w 8785745"/>
              <a:gd name="connsiteY13" fmla="*/ 212402 h 4608513"/>
              <a:gd name="connsiteX0" fmla="*/ 216884 w 8785745"/>
              <a:gd name="connsiteY0" fmla="*/ 212402 h 4608513"/>
              <a:gd name="connsiteX1" fmla="*/ 212912 w 8785745"/>
              <a:gd name="connsiteY1" fmla="*/ 1161333 h 4608513"/>
              <a:gd name="connsiteX2" fmla="*/ 1042954 w 8785745"/>
              <a:gd name="connsiteY2" fmla="*/ 1157670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6884 w 8785745"/>
              <a:gd name="connsiteY13" fmla="*/ 212402 h 4608513"/>
              <a:gd name="connsiteX0" fmla="*/ 216884 w 8785745"/>
              <a:gd name="connsiteY0" fmla="*/ 212402 h 4608513"/>
              <a:gd name="connsiteX1" fmla="*/ 210492 w 8785745"/>
              <a:gd name="connsiteY1" fmla="*/ 1154076 h 4608513"/>
              <a:gd name="connsiteX2" fmla="*/ 1042954 w 8785745"/>
              <a:gd name="connsiteY2" fmla="*/ 1157670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6884 w 8785745"/>
              <a:gd name="connsiteY13" fmla="*/ 212402 h 4608513"/>
              <a:gd name="connsiteX0" fmla="*/ 216884 w 8785745"/>
              <a:gd name="connsiteY0" fmla="*/ 212402 h 4608513"/>
              <a:gd name="connsiteX1" fmla="*/ 217749 w 8785745"/>
              <a:gd name="connsiteY1" fmla="*/ 1149238 h 4608513"/>
              <a:gd name="connsiteX2" fmla="*/ 1042954 w 8785745"/>
              <a:gd name="connsiteY2" fmla="*/ 1157670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6884 w 8785745"/>
              <a:gd name="connsiteY13" fmla="*/ 212402 h 4608513"/>
              <a:gd name="connsiteX0" fmla="*/ 214464 w 8785745"/>
              <a:gd name="connsiteY0" fmla="*/ 209983 h 4608513"/>
              <a:gd name="connsiteX1" fmla="*/ 217749 w 8785745"/>
              <a:gd name="connsiteY1" fmla="*/ 1149238 h 4608513"/>
              <a:gd name="connsiteX2" fmla="*/ 1042954 w 8785745"/>
              <a:gd name="connsiteY2" fmla="*/ 1157670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4464 w 8785745"/>
              <a:gd name="connsiteY13" fmla="*/ 209983 h 4608513"/>
              <a:gd name="connsiteX0" fmla="*/ 214464 w 8785745"/>
              <a:gd name="connsiteY0" fmla="*/ 209983 h 4608513"/>
              <a:gd name="connsiteX1" fmla="*/ 217749 w 8785745"/>
              <a:gd name="connsiteY1" fmla="*/ 1154076 h 4608513"/>
              <a:gd name="connsiteX2" fmla="*/ 1042954 w 8785745"/>
              <a:gd name="connsiteY2" fmla="*/ 1157670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4464 w 8785745"/>
              <a:gd name="connsiteY13" fmla="*/ 209983 h 4608513"/>
              <a:gd name="connsiteX0" fmla="*/ 214464 w 8785745"/>
              <a:gd name="connsiteY0" fmla="*/ 209983 h 4608513"/>
              <a:gd name="connsiteX1" fmla="*/ 217749 w 8785745"/>
              <a:gd name="connsiteY1" fmla="*/ 1154076 h 4608513"/>
              <a:gd name="connsiteX2" fmla="*/ 1042954 w 8785745"/>
              <a:gd name="connsiteY2" fmla="*/ 1157670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4464 w 8785745"/>
              <a:gd name="connsiteY13" fmla="*/ 209983 h 4608513"/>
              <a:gd name="connsiteX0" fmla="*/ 214464 w 8785745"/>
              <a:gd name="connsiteY0" fmla="*/ 209983 h 4608513"/>
              <a:gd name="connsiteX1" fmla="*/ 212910 w 8785745"/>
              <a:gd name="connsiteY1" fmla="*/ 1151657 h 4608513"/>
              <a:gd name="connsiteX2" fmla="*/ 1042954 w 8785745"/>
              <a:gd name="connsiteY2" fmla="*/ 1157670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4464 w 8785745"/>
              <a:gd name="connsiteY13" fmla="*/ 209983 h 4608513"/>
              <a:gd name="connsiteX0" fmla="*/ 214464 w 8785745"/>
              <a:gd name="connsiteY0" fmla="*/ 209983 h 4608513"/>
              <a:gd name="connsiteX1" fmla="*/ 208071 w 8785745"/>
              <a:gd name="connsiteY1" fmla="*/ 1171315 h 4608513"/>
              <a:gd name="connsiteX2" fmla="*/ 1042954 w 8785745"/>
              <a:gd name="connsiteY2" fmla="*/ 1157670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4464 w 8785745"/>
              <a:gd name="connsiteY13" fmla="*/ 209983 h 4608513"/>
              <a:gd name="connsiteX0" fmla="*/ 214464 w 8785745"/>
              <a:gd name="connsiteY0" fmla="*/ 209983 h 4608513"/>
              <a:gd name="connsiteX1" fmla="*/ 212910 w 8785745"/>
              <a:gd name="connsiteY1" fmla="*/ 1168858 h 4608513"/>
              <a:gd name="connsiteX2" fmla="*/ 1042954 w 8785745"/>
              <a:gd name="connsiteY2" fmla="*/ 1157670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4464 w 8785745"/>
              <a:gd name="connsiteY13" fmla="*/ 209983 h 4608513"/>
              <a:gd name="connsiteX0" fmla="*/ 214464 w 8785745"/>
              <a:gd name="connsiteY0" fmla="*/ 209983 h 4608513"/>
              <a:gd name="connsiteX1" fmla="*/ 212910 w 8785745"/>
              <a:gd name="connsiteY1" fmla="*/ 1168858 h 4608513"/>
              <a:gd name="connsiteX2" fmla="*/ 1042954 w 8785745"/>
              <a:gd name="connsiteY2" fmla="*/ 1169956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4464 w 8785745"/>
              <a:gd name="connsiteY13" fmla="*/ 209983 h 4608513"/>
              <a:gd name="connsiteX0" fmla="*/ 214464 w 8785745"/>
              <a:gd name="connsiteY0" fmla="*/ 209983 h 4608513"/>
              <a:gd name="connsiteX1" fmla="*/ 212910 w 8785745"/>
              <a:gd name="connsiteY1" fmla="*/ 1168858 h 4608513"/>
              <a:gd name="connsiteX2" fmla="*/ 1045373 w 8785745"/>
              <a:gd name="connsiteY2" fmla="*/ 1165042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4464 w 8785745"/>
              <a:gd name="connsiteY13" fmla="*/ 209983 h 4608513"/>
              <a:gd name="connsiteX0" fmla="*/ 214464 w 8785745"/>
              <a:gd name="connsiteY0" fmla="*/ 209983 h 4608513"/>
              <a:gd name="connsiteX1" fmla="*/ 212910 w 8785745"/>
              <a:gd name="connsiteY1" fmla="*/ 1168858 h 4608513"/>
              <a:gd name="connsiteX2" fmla="*/ 1040535 w 8785745"/>
              <a:gd name="connsiteY2" fmla="*/ 1165042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4464 w 8785745"/>
              <a:gd name="connsiteY13" fmla="*/ 209983 h 4608513"/>
              <a:gd name="connsiteX0" fmla="*/ 214464 w 8785745"/>
              <a:gd name="connsiteY0" fmla="*/ 209983 h 4608513"/>
              <a:gd name="connsiteX1" fmla="*/ 215329 w 8785745"/>
              <a:gd name="connsiteY1" fmla="*/ 1159029 h 4608513"/>
              <a:gd name="connsiteX2" fmla="*/ 1040535 w 8785745"/>
              <a:gd name="connsiteY2" fmla="*/ 1165042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4464 w 8785745"/>
              <a:gd name="connsiteY13" fmla="*/ 209983 h 4608513"/>
              <a:gd name="connsiteX0" fmla="*/ 214464 w 8785745"/>
              <a:gd name="connsiteY0" fmla="*/ 209983 h 4608513"/>
              <a:gd name="connsiteX1" fmla="*/ 208072 w 8785745"/>
              <a:gd name="connsiteY1" fmla="*/ 1166401 h 4608513"/>
              <a:gd name="connsiteX2" fmla="*/ 1040535 w 8785745"/>
              <a:gd name="connsiteY2" fmla="*/ 1165042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4464 w 8785745"/>
              <a:gd name="connsiteY13" fmla="*/ 209983 h 4608513"/>
              <a:gd name="connsiteX0" fmla="*/ 214464 w 8785745"/>
              <a:gd name="connsiteY0" fmla="*/ 209983 h 4608513"/>
              <a:gd name="connsiteX1" fmla="*/ 215329 w 8785745"/>
              <a:gd name="connsiteY1" fmla="*/ 1166401 h 4608513"/>
              <a:gd name="connsiteX2" fmla="*/ 1040535 w 8785745"/>
              <a:gd name="connsiteY2" fmla="*/ 1165042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4464 w 8785745"/>
              <a:gd name="connsiteY13" fmla="*/ 209983 h 4608513"/>
              <a:gd name="connsiteX0" fmla="*/ 216845 w 8785745"/>
              <a:gd name="connsiteY0" fmla="*/ 217239 h 4608513"/>
              <a:gd name="connsiteX1" fmla="*/ 215329 w 8785745"/>
              <a:gd name="connsiteY1" fmla="*/ 1166401 h 4608513"/>
              <a:gd name="connsiteX2" fmla="*/ 1040535 w 8785745"/>
              <a:gd name="connsiteY2" fmla="*/ 1165042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6845 w 8785745"/>
              <a:gd name="connsiteY13" fmla="*/ 217239 h 4608513"/>
              <a:gd name="connsiteX0" fmla="*/ 216845 w 8785745"/>
              <a:gd name="connsiteY0" fmla="*/ 222077 h 4608513"/>
              <a:gd name="connsiteX1" fmla="*/ 215329 w 8785745"/>
              <a:gd name="connsiteY1" fmla="*/ 1166401 h 4608513"/>
              <a:gd name="connsiteX2" fmla="*/ 1040535 w 8785745"/>
              <a:gd name="connsiteY2" fmla="*/ 1165042 h 4608513"/>
              <a:gd name="connsiteX3" fmla="*/ 1044894 w 8785745"/>
              <a:gd name="connsiteY3" fmla="*/ 211008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6845 w 8785745"/>
              <a:gd name="connsiteY13" fmla="*/ 222077 h 4608513"/>
              <a:gd name="connsiteX0" fmla="*/ 216845 w 8785745"/>
              <a:gd name="connsiteY0" fmla="*/ 222077 h 4608513"/>
              <a:gd name="connsiteX1" fmla="*/ 215329 w 8785745"/>
              <a:gd name="connsiteY1" fmla="*/ 1166401 h 4608513"/>
              <a:gd name="connsiteX2" fmla="*/ 1040535 w 8785745"/>
              <a:gd name="connsiteY2" fmla="*/ 1165042 h 4608513"/>
              <a:gd name="connsiteX3" fmla="*/ 1044894 w 8785745"/>
              <a:gd name="connsiteY3" fmla="*/ 215845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6845 w 8785745"/>
              <a:gd name="connsiteY13" fmla="*/ 222077 h 4608513"/>
              <a:gd name="connsiteX0" fmla="*/ 216845 w 8785745"/>
              <a:gd name="connsiteY0" fmla="*/ 222077 h 4608513"/>
              <a:gd name="connsiteX1" fmla="*/ 215329 w 8785745"/>
              <a:gd name="connsiteY1" fmla="*/ 1166401 h 4608513"/>
              <a:gd name="connsiteX2" fmla="*/ 1040535 w 8785745"/>
              <a:gd name="connsiteY2" fmla="*/ 1152948 h 4608513"/>
              <a:gd name="connsiteX3" fmla="*/ 1044894 w 8785745"/>
              <a:gd name="connsiteY3" fmla="*/ 215845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6845 w 8785745"/>
              <a:gd name="connsiteY13" fmla="*/ 222077 h 4608513"/>
              <a:gd name="connsiteX0" fmla="*/ 216845 w 8785745"/>
              <a:gd name="connsiteY0" fmla="*/ 222077 h 4608513"/>
              <a:gd name="connsiteX1" fmla="*/ 215329 w 8785745"/>
              <a:gd name="connsiteY1" fmla="*/ 1166401 h 4608513"/>
              <a:gd name="connsiteX2" fmla="*/ 1042916 w 8785745"/>
              <a:gd name="connsiteY2" fmla="*/ 1165042 h 4608513"/>
              <a:gd name="connsiteX3" fmla="*/ 1044894 w 8785745"/>
              <a:gd name="connsiteY3" fmla="*/ 215845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6845 w 8785745"/>
              <a:gd name="connsiteY13" fmla="*/ 222077 h 4608513"/>
              <a:gd name="connsiteX0" fmla="*/ 216845 w 8785745"/>
              <a:gd name="connsiteY0" fmla="*/ 222077 h 4608513"/>
              <a:gd name="connsiteX1" fmla="*/ 215329 w 8785745"/>
              <a:gd name="connsiteY1" fmla="*/ 1166401 h 4608513"/>
              <a:gd name="connsiteX2" fmla="*/ 1042916 w 8785745"/>
              <a:gd name="connsiteY2" fmla="*/ 1157786 h 4608513"/>
              <a:gd name="connsiteX3" fmla="*/ 1044894 w 8785745"/>
              <a:gd name="connsiteY3" fmla="*/ 215845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6845 w 8785745"/>
              <a:gd name="connsiteY13" fmla="*/ 222077 h 4608513"/>
              <a:gd name="connsiteX0" fmla="*/ 216845 w 8785745"/>
              <a:gd name="connsiteY0" fmla="*/ 222077 h 4608513"/>
              <a:gd name="connsiteX1" fmla="*/ 215329 w 8785745"/>
              <a:gd name="connsiteY1" fmla="*/ 1166401 h 4608513"/>
              <a:gd name="connsiteX2" fmla="*/ 1040535 w 8785745"/>
              <a:gd name="connsiteY2" fmla="*/ 1167461 h 4608513"/>
              <a:gd name="connsiteX3" fmla="*/ 1044894 w 8785745"/>
              <a:gd name="connsiteY3" fmla="*/ 215845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6845 w 8785745"/>
              <a:gd name="connsiteY13" fmla="*/ 222077 h 4608513"/>
              <a:gd name="connsiteX0" fmla="*/ 216845 w 8785745"/>
              <a:gd name="connsiteY0" fmla="*/ 222077 h 4608513"/>
              <a:gd name="connsiteX1" fmla="*/ 215329 w 8785745"/>
              <a:gd name="connsiteY1" fmla="*/ 1166401 h 4608513"/>
              <a:gd name="connsiteX2" fmla="*/ 1040535 w 8785745"/>
              <a:gd name="connsiteY2" fmla="*/ 1167461 h 4608513"/>
              <a:gd name="connsiteX3" fmla="*/ 1042513 w 8785745"/>
              <a:gd name="connsiteY3" fmla="*/ 215845 h 4608513"/>
              <a:gd name="connsiteX4" fmla="*/ 216028 w 8785745"/>
              <a:gd name="connsiteY4" fmla="*/ 210475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6845 w 8785745"/>
              <a:gd name="connsiteY13" fmla="*/ 222077 h 4608513"/>
              <a:gd name="connsiteX0" fmla="*/ 216845 w 8785745"/>
              <a:gd name="connsiteY0" fmla="*/ 222077 h 4608513"/>
              <a:gd name="connsiteX1" fmla="*/ 215329 w 8785745"/>
              <a:gd name="connsiteY1" fmla="*/ 1166401 h 4608513"/>
              <a:gd name="connsiteX2" fmla="*/ 1040535 w 8785745"/>
              <a:gd name="connsiteY2" fmla="*/ 1167461 h 4608513"/>
              <a:gd name="connsiteX3" fmla="*/ 1042513 w 8785745"/>
              <a:gd name="connsiteY3" fmla="*/ 215845 h 4608513"/>
              <a:gd name="connsiteX4" fmla="*/ 218410 w 8785745"/>
              <a:gd name="connsiteY4" fmla="*/ 222568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6845 w 8785745"/>
              <a:gd name="connsiteY13" fmla="*/ 222077 h 4608513"/>
              <a:gd name="connsiteX0" fmla="*/ 214464 w 8785745"/>
              <a:gd name="connsiteY0" fmla="*/ 222077 h 4608513"/>
              <a:gd name="connsiteX1" fmla="*/ 215329 w 8785745"/>
              <a:gd name="connsiteY1" fmla="*/ 1166401 h 4608513"/>
              <a:gd name="connsiteX2" fmla="*/ 1040535 w 8785745"/>
              <a:gd name="connsiteY2" fmla="*/ 1167461 h 4608513"/>
              <a:gd name="connsiteX3" fmla="*/ 1042513 w 8785745"/>
              <a:gd name="connsiteY3" fmla="*/ 215845 h 4608513"/>
              <a:gd name="connsiteX4" fmla="*/ 218410 w 8785745"/>
              <a:gd name="connsiteY4" fmla="*/ 222568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4464 w 8785745"/>
              <a:gd name="connsiteY13" fmla="*/ 222077 h 4608513"/>
              <a:gd name="connsiteX0" fmla="*/ 219227 w 8785745"/>
              <a:gd name="connsiteY0" fmla="*/ 219658 h 4608513"/>
              <a:gd name="connsiteX1" fmla="*/ 215329 w 8785745"/>
              <a:gd name="connsiteY1" fmla="*/ 1166401 h 4608513"/>
              <a:gd name="connsiteX2" fmla="*/ 1040535 w 8785745"/>
              <a:gd name="connsiteY2" fmla="*/ 1167461 h 4608513"/>
              <a:gd name="connsiteX3" fmla="*/ 1042513 w 8785745"/>
              <a:gd name="connsiteY3" fmla="*/ 215845 h 4608513"/>
              <a:gd name="connsiteX4" fmla="*/ 218410 w 8785745"/>
              <a:gd name="connsiteY4" fmla="*/ 222568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9227 w 8785745"/>
              <a:gd name="connsiteY13" fmla="*/ 219658 h 4608513"/>
              <a:gd name="connsiteX0" fmla="*/ 219227 w 8785745"/>
              <a:gd name="connsiteY0" fmla="*/ 188215 h 4608513"/>
              <a:gd name="connsiteX1" fmla="*/ 215329 w 8785745"/>
              <a:gd name="connsiteY1" fmla="*/ 1166401 h 4608513"/>
              <a:gd name="connsiteX2" fmla="*/ 1040535 w 8785745"/>
              <a:gd name="connsiteY2" fmla="*/ 1167461 h 4608513"/>
              <a:gd name="connsiteX3" fmla="*/ 1042513 w 8785745"/>
              <a:gd name="connsiteY3" fmla="*/ 215845 h 4608513"/>
              <a:gd name="connsiteX4" fmla="*/ 218410 w 8785745"/>
              <a:gd name="connsiteY4" fmla="*/ 222568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9227 w 8785745"/>
              <a:gd name="connsiteY13" fmla="*/ 188215 h 4608513"/>
              <a:gd name="connsiteX0" fmla="*/ 219227 w 8785745"/>
              <a:gd name="connsiteY0" fmla="*/ 188215 h 4608513"/>
              <a:gd name="connsiteX1" fmla="*/ 215329 w 8785745"/>
              <a:gd name="connsiteY1" fmla="*/ 1166401 h 4608513"/>
              <a:gd name="connsiteX2" fmla="*/ 1040535 w 8785745"/>
              <a:gd name="connsiteY2" fmla="*/ 1167461 h 4608513"/>
              <a:gd name="connsiteX3" fmla="*/ 1037750 w 8785745"/>
              <a:gd name="connsiteY3" fmla="*/ 227938 h 4608513"/>
              <a:gd name="connsiteX4" fmla="*/ 218410 w 8785745"/>
              <a:gd name="connsiteY4" fmla="*/ 222568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9227 w 8785745"/>
              <a:gd name="connsiteY13" fmla="*/ 188215 h 4608513"/>
              <a:gd name="connsiteX0" fmla="*/ 219227 w 8785745"/>
              <a:gd name="connsiteY0" fmla="*/ 188215 h 4608513"/>
              <a:gd name="connsiteX1" fmla="*/ 215329 w 8785745"/>
              <a:gd name="connsiteY1" fmla="*/ 1166401 h 4608513"/>
              <a:gd name="connsiteX2" fmla="*/ 1040535 w 8785745"/>
              <a:gd name="connsiteY2" fmla="*/ 1167461 h 4608513"/>
              <a:gd name="connsiteX3" fmla="*/ 1035368 w 8785745"/>
              <a:gd name="connsiteY3" fmla="*/ 223101 h 4608513"/>
              <a:gd name="connsiteX4" fmla="*/ 218410 w 8785745"/>
              <a:gd name="connsiteY4" fmla="*/ 222568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9227 w 8785745"/>
              <a:gd name="connsiteY13" fmla="*/ 188215 h 4608513"/>
              <a:gd name="connsiteX0" fmla="*/ 219227 w 8785745"/>
              <a:gd name="connsiteY0" fmla="*/ 188215 h 4608513"/>
              <a:gd name="connsiteX1" fmla="*/ 215329 w 8785745"/>
              <a:gd name="connsiteY1" fmla="*/ 1166401 h 4608513"/>
              <a:gd name="connsiteX2" fmla="*/ 1040535 w 8785745"/>
              <a:gd name="connsiteY2" fmla="*/ 1167461 h 4608513"/>
              <a:gd name="connsiteX3" fmla="*/ 1040131 w 8785745"/>
              <a:gd name="connsiteY3" fmla="*/ 220683 h 4608513"/>
              <a:gd name="connsiteX4" fmla="*/ 218410 w 8785745"/>
              <a:gd name="connsiteY4" fmla="*/ 222568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9227 w 8785745"/>
              <a:gd name="connsiteY13" fmla="*/ 188215 h 4608513"/>
              <a:gd name="connsiteX0" fmla="*/ 219227 w 8785745"/>
              <a:gd name="connsiteY0" fmla="*/ 226914 h 4608513"/>
              <a:gd name="connsiteX1" fmla="*/ 215329 w 8785745"/>
              <a:gd name="connsiteY1" fmla="*/ 1166401 h 4608513"/>
              <a:gd name="connsiteX2" fmla="*/ 1040535 w 8785745"/>
              <a:gd name="connsiteY2" fmla="*/ 1167461 h 4608513"/>
              <a:gd name="connsiteX3" fmla="*/ 1040131 w 8785745"/>
              <a:gd name="connsiteY3" fmla="*/ 220683 h 4608513"/>
              <a:gd name="connsiteX4" fmla="*/ 218410 w 8785745"/>
              <a:gd name="connsiteY4" fmla="*/ 222568 h 4608513"/>
              <a:gd name="connsiteX5" fmla="*/ 0 w 8785745"/>
              <a:gd name="connsiteY5" fmla="*/ 272 h 4608513"/>
              <a:gd name="connsiteX6" fmla="*/ 8785745 w 8785745"/>
              <a:gd name="connsiteY6" fmla="*/ 0 h 4608513"/>
              <a:gd name="connsiteX7" fmla="*/ 8785745 w 8785745"/>
              <a:gd name="connsiteY7" fmla="*/ 0 h 4608513"/>
              <a:gd name="connsiteX8" fmla="*/ 8785745 w 8785745"/>
              <a:gd name="connsiteY8" fmla="*/ 4608513 h 4608513"/>
              <a:gd name="connsiteX9" fmla="*/ 8785745 w 8785745"/>
              <a:gd name="connsiteY9" fmla="*/ 4608513 h 4608513"/>
              <a:gd name="connsiteX10" fmla="*/ 520 w 8785745"/>
              <a:gd name="connsiteY10" fmla="*/ 4608513 h 4608513"/>
              <a:gd name="connsiteX11" fmla="*/ 520 w 8785745"/>
              <a:gd name="connsiteY11" fmla="*/ 4608513 h 4608513"/>
              <a:gd name="connsiteX12" fmla="*/ 520 w 8785745"/>
              <a:gd name="connsiteY12" fmla="*/ 0 h 4608513"/>
              <a:gd name="connsiteX13" fmla="*/ 219227 w 8785745"/>
              <a:gd name="connsiteY13" fmla="*/ 226914 h 4608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785745" h="4608513">
                <a:moveTo>
                  <a:pt x="219227" y="226914"/>
                </a:moveTo>
                <a:cubicBezTo>
                  <a:pt x="216162" y="548577"/>
                  <a:pt x="218394" y="844738"/>
                  <a:pt x="215329" y="1166401"/>
                </a:cubicBezTo>
                <a:lnTo>
                  <a:pt x="1040535" y="1167461"/>
                </a:lnTo>
                <a:cubicBezTo>
                  <a:pt x="1041972" y="850615"/>
                  <a:pt x="1038694" y="537529"/>
                  <a:pt x="1040131" y="220683"/>
                </a:cubicBezTo>
                <a:lnTo>
                  <a:pt x="218410" y="222568"/>
                </a:lnTo>
                <a:lnTo>
                  <a:pt x="0" y="272"/>
                </a:lnTo>
                <a:lnTo>
                  <a:pt x="8785745" y="0"/>
                </a:lnTo>
                <a:lnTo>
                  <a:pt x="8785745" y="0"/>
                </a:lnTo>
                <a:lnTo>
                  <a:pt x="8785745" y="4608513"/>
                </a:lnTo>
                <a:lnTo>
                  <a:pt x="8785745" y="4608513"/>
                </a:lnTo>
                <a:lnTo>
                  <a:pt x="520" y="4608513"/>
                </a:lnTo>
                <a:lnTo>
                  <a:pt x="520" y="4608513"/>
                </a:lnTo>
                <a:lnTo>
                  <a:pt x="520" y="0"/>
                </a:lnTo>
                <a:lnTo>
                  <a:pt x="219227" y="22691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1080000" tIns="1080000" rIns="1080000" bIns="1080000" anchor="ctr" anchorCtr="1"/>
          <a:lstStyle>
            <a:lvl1pPr marL="0" indent="0" algn="ctr">
              <a:buNone/>
              <a:defRPr sz="40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60052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495675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ADC3E5-C1DE-4B56-AABB-41DD8B12AB9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29" b="0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6" name="Picture Placeholder 1">
            <a:extLst>
              <a:ext uri="{FF2B5EF4-FFF2-40B4-BE49-F238E27FC236}">
                <a16:creationId xmlns:a16="http://schemas.microsoft.com/office/drawing/2014/main" id="{7ED8631D-1786-4364-87B2-A0C9A675B0C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62019" y="182428"/>
            <a:ext cx="8892989" cy="481992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485922E-E172-40DF-A19E-C3E9EE886437}"/>
              </a:ext>
            </a:extLst>
          </p:cNvPr>
          <p:cNvGrpSpPr/>
          <p:nvPr userDrawn="1"/>
        </p:nvGrpSpPr>
        <p:grpSpPr>
          <a:xfrm>
            <a:off x="342039" y="0"/>
            <a:ext cx="655848" cy="1143207"/>
            <a:chOff x="1551833" y="0"/>
            <a:chExt cx="867536" cy="151214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CE4BF45-21EC-40C3-9241-6684B1481B8C}"/>
                </a:ext>
              </a:extLst>
            </p:cNvPr>
            <p:cNvSpPr/>
            <p:nvPr/>
          </p:nvSpPr>
          <p:spPr>
            <a:xfrm>
              <a:off x="1551833" y="0"/>
              <a:ext cx="867536" cy="1512142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61"/>
            </a:p>
          </p:txBody>
        </p:sp>
        <p:pic>
          <p:nvPicPr>
            <p:cNvPr id="23" name="Picture 105">
              <a:extLst>
                <a:ext uri="{FF2B5EF4-FFF2-40B4-BE49-F238E27FC236}">
                  <a16:creationId xmlns:a16="http://schemas.microsoft.com/office/drawing/2014/main" id="{A662EFD6-FD01-40E0-B3BE-29918D5F5A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2610"/>
            <a:stretch/>
          </p:blipFill>
          <p:spPr bwMode="auto">
            <a:xfrm>
              <a:off x="1719636" y="280455"/>
              <a:ext cx="531931" cy="637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105">
              <a:extLst>
                <a:ext uri="{FF2B5EF4-FFF2-40B4-BE49-F238E27FC236}">
                  <a16:creationId xmlns:a16="http://schemas.microsoft.com/office/drawing/2014/main" id="{97D77114-2D50-4FFF-98CF-02F19561058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694"/>
            <a:stretch/>
          </p:blipFill>
          <p:spPr bwMode="auto">
            <a:xfrm>
              <a:off x="1604799" y="872982"/>
              <a:ext cx="761604" cy="565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342039" y="2816452"/>
            <a:ext cx="4611199" cy="829815"/>
          </a:xfrm>
          <a:prstGeom prst="rect">
            <a:avLst/>
          </a:prstGeom>
          <a:solidFill>
            <a:srgbClr val="269B48">
              <a:alpha val="90000"/>
            </a:srgbClr>
          </a:solidFill>
        </p:spPr>
        <p:txBody>
          <a:bodyPr wrap="square" lIns="217440" tIns="153720" rIns="217440" bIns="153720" rtlCol="0" anchor="ctr">
            <a:spAutoFit/>
          </a:bodyPr>
          <a:lstStyle>
            <a:lvl1pPr algn="l">
              <a:lnSpc>
                <a:spcPct val="93000"/>
              </a:lnSpc>
              <a:defRPr lang="en-US" sz="3629" b="0" cap="none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in Title Cas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42039" y="4272220"/>
            <a:ext cx="4611199" cy="444116"/>
          </a:xfrm>
          <a:prstGeom prst="rect">
            <a:avLst/>
          </a:prstGeom>
          <a:solidFill>
            <a:srgbClr val="269B48">
              <a:alpha val="90000"/>
            </a:srgbClr>
          </a:solidFill>
        </p:spPr>
        <p:txBody>
          <a:bodyPr wrap="square" lIns="217440" tIns="153720" rIns="217440" bIns="153720" rtlCol="0" anchor="ctr">
            <a:noAutofit/>
          </a:bodyPr>
          <a:lstStyle>
            <a:lvl1pPr marL="0" indent="0" algn="l">
              <a:lnSpc>
                <a:spcPct val="110000"/>
              </a:lnSpc>
              <a:buNone/>
              <a:defRPr lang="en-US" sz="1361" dirty="0">
                <a:solidFill>
                  <a:srgbClr val="FFFFFF"/>
                </a:solidFill>
              </a:defRPr>
            </a:lvl1pPr>
            <a:lvl2pPr marL="345643" indent="0" algn="ctr">
              <a:buNone/>
              <a:defRPr sz="1512"/>
            </a:lvl2pPr>
            <a:lvl3pPr marL="691286" indent="0" algn="ctr">
              <a:buNone/>
              <a:defRPr sz="1361"/>
            </a:lvl3pPr>
            <a:lvl4pPr marL="1036930" indent="0" algn="ctr">
              <a:buNone/>
              <a:defRPr sz="1210"/>
            </a:lvl4pPr>
            <a:lvl5pPr marL="1382573" indent="0" algn="ctr">
              <a:buNone/>
              <a:defRPr sz="1210"/>
            </a:lvl5pPr>
            <a:lvl6pPr marL="1728216" indent="0" algn="ctr">
              <a:buNone/>
              <a:defRPr sz="1210"/>
            </a:lvl6pPr>
            <a:lvl7pPr marL="2073859" indent="0" algn="ctr">
              <a:buNone/>
              <a:defRPr sz="1210"/>
            </a:lvl7pPr>
            <a:lvl8pPr marL="2419502" indent="0" algn="ctr">
              <a:buNone/>
              <a:defRPr sz="1210"/>
            </a:lvl8pPr>
            <a:lvl9pPr marL="2765146" indent="0" algn="ctr">
              <a:buNone/>
              <a:defRPr sz="1210"/>
            </a:lvl9pPr>
          </a:lstStyle>
          <a:p>
            <a:pPr lvl="0"/>
            <a:r>
              <a:rPr lang="en-US"/>
              <a:t>Subtitle in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11991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470561-A1E0-4872-8E5E-3D5CAE37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41780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470561-A1E0-4872-8E5E-3D5CAE37D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0A6A8357-92C3-4232-B807-8120ADCFA32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3808F0-9E64-4A51-B0B9-32246F6573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B79AD7E-3149-4D96-9244-47A4E8251261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182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66FAAE9-8919-47A9-810A-46E2311D96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430138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66FAAE9-8919-47A9-810A-46E2311D96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8500858-A0DD-4BB9-810E-78957CD935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57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8FE3B21-3C70-4BD1-A080-B7BD33F4F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2719"/>
          <a:stretch/>
        </p:blipFill>
        <p:spPr>
          <a:xfrm>
            <a:off x="7060576" y="141098"/>
            <a:ext cx="1980471" cy="65026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4667690-A174-4A13-9769-6A900873CD5A}"/>
              </a:ext>
            </a:extLst>
          </p:cNvPr>
          <p:cNvCxnSpPr>
            <a:cxnSpLocks/>
          </p:cNvCxnSpPr>
          <p:nvPr userDrawn="1"/>
        </p:nvCxnSpPr>
        <p:spPr>
          <a:xfrm>
            <a:off x="175978" y="795888"/>
            <a:ext cx="8865069" cy="0"/>
          </a:xfrm>
          <a:prstGeom prst="line">
            <a:avLst/>
          </a:prstGeom>
          <a:ln w="19050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978" y="304267"/>
            <a:ext cx="8260451" cy="356008"/>
          </a:xfrm>
        </p:spPr>
        <p:txBody>
          <a:bodyPr/>
          <a:lstStyle>
            <a:lvl1pPr>
              <a:defRPr sz="257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5978" y="1576774"/>
            <a:ext cx="8865067" cy="309145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2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2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12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17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17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5730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3575D1-DF5F-4A2C-B443-143DF390B2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576802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3575D1-DF5F-4A2C-B443-143DF390B2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989"/>
            <a:ext cx="3548918" cy="518576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128" tIns="34564" rIns="69128" bIns="345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6274" y="1167500"/>
            <a:ext cx="2609978" cy="1130848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419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3067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0F3CC-F57A-4CB0-AFCA-F67131DDB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509219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0F3CC-F57A-4CB0-AFCA-F67131DDB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77E9FA7-5011-4D5F-B92D-C6B5D6244C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71252" y="2017088"/>
            <a:ext cx="7272991" cy="2420035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691286" rtl="0" eaLnBrk="1" fontAlgn="auto" latinLnBrk="0" hangingPunct="1">
              <a:lnSpc>
                <a:spcPts val="4536"/>
              </a:lnSpc>
              <a:spcBef>
                <a:spcPts val="0"/>
              </a:spcBef>
              <a:spcAft>
                <a:spcPts val="0"/>
              </a:spcAft>
              <a:defRPr lang="en-US" sz="4082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 hidden="1"/>
          <p:cNvSpPr txBox="1"/>
          <p:nvPr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71252" y="1079693"/>
            <a:ext cx="716430" cy="716458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77F7F8-F3E5-4976-983D-0ACF76B925F1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0715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A80C3C-13F4-4554-949C-4C6887EE3D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281499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A80C3C-13F4-4554-949C-4C6887EE3D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AEC3DA-8DB8-4EF8-AC56-4724A11AAB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082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6273" y="2893132"/>
            <a:ext cx="8268107" cy="1543185"/>
          </a:xfrm>
        </p:spPr>
        <p:txBody>
          <a:bodyPr anchor="t">
            <a:noAutofit/>
          </a:bodyPr>
          <a:lstStyle>
            <a:lvl1pPr>
              <a:defRPr sz="4082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7881" y="2782160"/>
            <a:ext cx="8751565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7A772D2-6CBD-482A-894E-EF5055A3BCE6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93757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3D8CED9-6B7C-4A74-94EF-EE5F2F24E2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220934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3D8CED9-6B7C-4A74-94EF-EE5F2F24E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73093" y="0"/>
            <a:ext cx="315211" cy="5184775"/>
          </a:xfrm>
          <a:prstGeom prst="rect">
            <a:avLst/>
          </a:prstGeom>
        </p:spPr>
      </p:pic>
      <p:sp>
        <p:nvSpPr>
          <p:cNvPr id="20" name="TextBox 19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84066" cy="5184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6274" y="2026964"/>
            <a:ext cx="2364645" cy="11308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19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D4E721-6E7C-4948-A4D5-02D85B94525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2461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538837-DB6D-4E09-AB25-EF719B572E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40763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538837-DB6D-4E09-AB25-EF719B572E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417124" y="0"/>
            <a:ext cx="315211" cy="51847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421924" cy="5184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4730076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CF4986-98F0-4237-B2F8-FEB20A917A6C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33759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920B35-5CE6-4003-B070-0B99656EA3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798812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920B35-5CE6-4003-B070-0B99656EA3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75289" y="0"/>
            <a:ext cx="315211" cy="5184775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6274" y="2026964"/>
            <a:ext cx="2364645" cy="11308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19"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85015" y="-989"/>
            <a:ext cx="6132011" cy="51857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D283CE-7332-4745-974B-206FC5C92DD5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90763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920B35-5CE6-4003-B070-0B99656EA3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853733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920B35-5CE6-4003-B070-0B99656EA3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75289" y="0"/>
            <a:ext cx="315211" cy="5184775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6274" y="2026964"/>
            <a:ext cx="2364645" cy="113084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19"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85015" y="-989"/>
            <a:ext cx="6132011" cy="51857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D283CE-7332-4745-974B-206FC5C92DD5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9704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C3A3AB-B22A-4E78-AAF2-B7D6818619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071487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C3A3AB-B22A-4E78-AAF2-B7D6818619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912C19-5C10-44DF-87AB-756D1F0623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301265" y="0"/>
            <a:ext cx="315211" cy="51847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608512" y="0"/>
            <a:ext cx="4608513" cy="5184775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605505" y="0"/>
            <a:ext cx="4611519" cy="5184775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361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6273" y="1349947"/>
            <a:ext cx="3317585" cy="2484882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32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644BA7-7C7F-4624-A75A-78EEF8AA19AB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3743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9E504A-89E4-47DE-89D4-0157CAF96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04067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9E504A-89E4-47DE-89D4-0157CAF961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2DF5B05-156E-44CF-93DA-B264334A81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01769" y="0"/>
            <a:ext cx="315211" cy="51847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911493" y="0"/>
            <a:ext cx="3305532" cy="51847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911858" y="0"/>
            <a:ext cx="3305168" cy="5184775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21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6274" y="1364349"/>
            <a:ext cx="4723084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2B35CF-7EF2-4F9C-9709-A55C67A897C3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04693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B75645-0D7F-42A5-88A8-35BC969252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302569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B75645-0D7F-42A5-88A8-35BC969252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48A481D-67F9-4EFD-90EC-B84F2EB2AF4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19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152" y="99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BD0F91-B326-47BE-A875-91966F1E33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273" y="2089789"/>
            <a:ext cx="1873825" cy="993643"/>
          </a:xfrm>
        </p:spPr>
        <p:txBody>
          <a:bodyPr anchor="ctr"/>
          <a:lstStyle>
            <a:lvl1pPr>
              <a:defRPr sz="2419" b="1" cap="all" baseline="0"/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093" y="2714408"/>
            <a:ext cx="1032115" cy="255758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86B84F9-45A6-420D-B328-0DCEAB1D7237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03158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A6C7BDA-2459-4A47-BBED-1A6064FC55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2289420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A6C7BDA-2459-4A47-BBED-1A6064FC55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8A606A-23AB-435F-9FF9-9E3122B829D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19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090721" cy="5184775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2089789"/>
            <a:ext cx="1873825" cy="993643"/>
          </a:xfrm>
        </p:spPr>
        <p:txBody>
          <a:bodyPr anchor="ctr" anchorCtr="0">
            <a:noAutofit/>
          </a:bodyPr>
          <a:lstStyle>
            <a:lvl1pPr>
              <a:defRPr sz="2419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44007" y="2572602"/>
            <a:ext cx="2037139" cy="2617143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C7145E8-58AB-4E4F-9673-012D0BAFBAAF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399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477482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 hidden="1"/>
          <p:cNvSpPr txBox="1"/>
          <p:nvPr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605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102695" cy="5184775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1349947"/>
            <a:ext cx="3071007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 b="1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586" y="2566223"/>
            <a:ext cx="981709" cy="2700404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CC433AB-6F12-4920-BE97-C9343770D6D6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2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483640-7E3D-42DC-9004-7F3CF3D832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2561644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483640-7E3D-42DC-9004-7F3CF3D83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8BF93D-14D4-4E98-9D34-D5905AC7A75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326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102695" cy="5184775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6274" y="1349947"/>
            <a:ext cx="3071007" cy="248488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326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TextBox 15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704976" y="2582786"/>
            <a:ext cx="2037139" cy="2601989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D38A284-38DC-444E-BCC1-80FCA2B390B4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7606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5409D1-1A7F-4FB8-A6A1-D359C453EF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864681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5409D1-1A7F-4FB8-A6A1-D359C453EF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810774" cy="5184775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3533228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0685" y="2713809"/>
            <a:ext cx="1032115" cy="255758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B19D767-8B06-4A75-AFE0-245375BF85A9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56646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D9A8252-861C-413E-9DCC-DB5DAA747B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155676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D9A8252-861C-413E-9DCC-DB5DAA747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4810774" cy="5184775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3533228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Box 12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71844" y="2576362"/>
            <a:ext cx="2037139" cy="2613217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E476042-7553-4376-AFF8-704A8EB5A93A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1729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F44CA1-4557-4683-BF1E-07A66B0151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238436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F44CA1-4557-4683-BF1E-07A66B0151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85269" cy="51847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4730076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618" y="2713809"/>
            <a:ext cx="1032115" cy="255758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1CB354E-049E-4041-99DF-C568D3B3DF44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37434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F8840C-250E-4DC9-AD84-0613F33CC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340685"/>
              </p:ext>
            </p:extLst>
          </p:nvPr>
        </p:nvGraphicFramePr>
        <p:xfrm>
          <a:off x="1200" y="1200"/>
          <a:ext cx="1201" cy="12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F8840C-250E-4DC9-AD84-0613F33CC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00" y="1200"/>
                        <a:ext cx="1201" cy="12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85269" cy="5184775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6"/>
              </a:spcAft>
            </a:pPr>
            <a:endParaRPr lang="en-US" sz="907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6273" y="470848"/>
            <a:ext cx="4730076" cy="35600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7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Box 17" hidden="1"/>
          <p:cNvSpPr txBox="1"/>
          <p:nvPr userDrawn="1"/>
        </p:nvSpPr>
        <p:spPr>
          <a:xfrm>
            <a:off x="8442795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65059" y="2576362"/>
            <a:ext cx="2037139" cy="2613217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EA0AB3B-AAEA-4D78-96D5-999412D98A5E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6584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oleObject" Target="../embeddings/oleObject1.bin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61" Type="http://schemas.openxmlformats.org/officeDocument/2006/relationships/slideLayout" Target="../slideLayouts/slideLayout61.xml"/><Relationship Id="rId8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01.xml"/><Relationship Id="rId42" Type="http://schemas.openxmlformats.org/officeDocument/2006/relationships/slideLayout" Target="../slideLayouts/slideLayout122.xml"/><Relationship Id="rId47" Type="http://schemas.openxmlformats.org/officeDocument/2006/relationships/slideLayout" Target="../slideLayouts/slideLayout127.xml"/><Relationship Id="rId63" Type="http://schemas.openxmlformats.org/officeDocument/2006/relationships/slideLayout" Target="../slideLayouts/slideLayout143.xml"/><Relationship Id="rId68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slideLayout" Target="../slideLayouts/slideLayout117.xml"/><Relationship Id="rId40" Type="http://schemas.openxmlformats.org/officeDocument/2006/relationships/slideLayout" Target="../slideLayouts/slideLayout120.xml"/><Relationship Id="rId45" Type="http://schemas.openxmlformats.org/officeDocument/2006/relationships/slideLayout" Target="../slideLayouts/slideLayout125.xml"/><Relationship Id="rId53" Type="http://schemas.openxmlformats.org/officeDocument/2006/relationships/slideLayout" Target="../slideLayouts/slideLayout133.xml"/><Relationship Id="rId58" Type="http://schemas.openxmlformats.org/officeDocument/2006/relationships/slideLayout" Target="../slideLayouts/slideLayout138.xml"/><Relationship Id="rId66" Type="http://schemas.openxmlformats.org/officeDocument/2006/relationships/slideLayout" Target="../slideLayouts/slideLayout146.xml"/><Relationship Id="rId74" Type="http://schemas.openxmlformats.org/officeDocument/2006/relationships/tags" Target="../tags/tag117.xml"/><Relationship Id="rId5" Type="http://schemas.openxmlformats.org/officeDocument/2006/relationships/slideLayout" Target="../slideLayouts/slideLayout85.xml"/><Relationship Id="rId61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slideLayout" Target="../slideLayouts/slideLayout115.xml"/><Relationship Id="rId43" Type="http://schemas.openxmlformats.org/officeDocument/2006/relationships/slideLayout" Target="../slideLayouts/slideLayout123.xml"/><Relationship Id="rId48" Type="http://schemas.openxmlformats.org/officeDocument/2006/relationships/slideLayout" Target="../slideLayouts/slideLayout128.xml"/><Relationship Id="rId56" Type="http://schemas.openxmlformats.org/officeDocument/2006/relationships/slideLayout" Target="../slideLayouts/slideLayout136.xml"/><Relationship Id="rId64" Type="http://schemas.openxmlformats.org/officeDocument/2006/relationships/slideLayout" Target="../slideLayouts/slideLayout144.xml"/><Relationship Id="rId69" Type="http://schemas.openxmlformats.org/officeDocument/2006/relationships/slideLayout" Target="../slideLayouts/slideLayout149.xml"/><Relationship Id="rId77" Type="http://schemas.openxmlformats.org/officeDocument/2006/relationships/image" Target="../media/image1.emf"/><Relationship Id="rId8" Type="http://schemas.openxmlformats.org/officeDocument/2006/relationships/slideLayout" Target="../slideLayouts/slideLayout88.xml"/><Relationship Id="rId51" Type="http://schemas.openxmlformats.org/officeDocument/2006/relationships/slideLayout" Target="../slideLayouts/slideLayout131.xml"/><Relationship Id="rId72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slideLayout" Target="../slideLayouts/slideLayout118.xml"/><Relationship Id="rId46" Type="http://schemas.openxmlformats.org/officeDocument/2006/relationships/slideLayout" Target="../slideLayouts/slideLayout126.xml"/><Relationship Id="rId59" Type="http://schemas.openxmlformats.org/officeDocument/2006/relationships/slideLayout" Target="../slideLayouts/slideLayout139.xml"/><Relationship Id="rId67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00.xml"/><Relationship Id="rId41" Type="http://schemas.openxmlformats.org/officeDocument/2006/relationships/slideLayout" Target="../slideLayouts/slideLayout121.xml"/><Relationship Id="rId54" Type="http://schemas.openxmlformats.org/officeDocument/2006/relationships/slideLayout" Target="../slideLayouts/slideLayout134.xml"/><Relationship Id="rId62" Type="http://schemas.openxmlformats.org/officeDocument/2006/relationships/slideLayout" Target="../slideLayouts/slideLayout142.xml"/><Relationship Id="rId70" Type="http://schemas.openxmlformats.org/officeDocument/2006/relationships/slideLayout" Target="../slideLayouts/slideLayout150.xml"/><Relationship Id="rId75" Type="http://schemas.openxmlformats.org/officeDocument/2006/relationships/tags" Target="../tags/tag118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16.xml"/><Relationship Id="rId49" Type="http://schemas.openxmlformats.org/officeDocument/2006/relationships/slideLayout" Target="../slideLayouts/slideLayout129.xml"/><Relationship Id="rId57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90.xml"/><Relationship Id="rId31" Type="http://schemas.openxmlformats.org/officeDocument/2006/relationships/slideLayout" Target="../slideLayouts/slideLayout111.xml"/><Relationship Id="rId44" Type="http://schemas.openxmlformats.org/officeDocument/2006/relationships/slideLayout" Target="../slideLayouts/slideLayout124.xml"/><Relationship Id="rId52" Type="http://schemas.openxmlformats.org/officeDocument/2006/relationships/slideLayout" Target="../slideLayouts/slideLayout132.xml"/><Relationship Id="rId60" Type="http://schemas.openxmlformats.org/officeDocument/2006/relationships/slideLayout" Target="../slideLayouts/slideLayout140.xml"/><Relationship Id="rId65" Type="http://schemas.openxmlformats.org/officeDocument/2006/relationships/slideLayout" Target="../slideLayouts/slideLayout145.xml"/><Relationship Id="rId73" Type="http://schemas.openxmlformats.org/officeDocument/2006/relationships/theme" Target="../theme/theme2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9" Type="http://schemas.openxmlformats.org/officeDocument/2006/relationships/slideLayout" Target="../slideLayouts/slideLayout119.xml"/><Relationship Id="rId34" Type="http://schemas.openxmlformats.org/officeDocument/2006/relationships/slideLayout" Target="../slideLayouts/slideLayout114.xml"/><Relationship Id="rId50" Type="http://schemas.openxmlformats.org/officeDocument/2006/relationships/slideLayout" Target="../slideLayouts/slideLayout130.xml"/><Relationship Id="rId55" Type="http://schemas.openxmlformats.org/officeDocument/2006/relationships/slideLayout" Target="../slideLayouts/slideLayout135.xml"/><Relationship Id="rId76" Type="http://schemas.openxmlformats.org/officeDocument/2006/relationships/oleObject" Target="../embeddings/oleObject1.bin"/><Relationship Id="rId7" Type="http://schemas.openxmlformats.org/officeDocument/2006/relationships/slideLayout" Target="../slideLayouts/slideLayout87.xml"/><Relationship Id="rId71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109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78.xml"/><Relationship Id="rId21" Type="http://schemas.openxmlformats.org/officeDocument/2006/relationships/slideLayout" Target="../slideLayouts/slideLayout173.xml"/><Relationship Id="rId42" Type="http://schemas.openxmlformats.org/officeDocument/2006/relationships/slideLayout" Target="../slideLayouts/slideLayout194.xml"/><Relationship Id="rId47" Type="http://schemas.openxmlformats.org/officeDocument/2006/relationships/slideLayout" Target="../slideLayouts/slideLayout199.xml"/><Relationship Id="rId63" Type="http://schemas.openxmlformats.org/officeDocument/2006/relationships/slideLayout" Target="../slideLayouts/slideLayout215.xml"/><Relationship Id="rId68" Type="http://schemas.openxmlformats.org/officeDocument/2006/relationships/slideLayout" Target="../slideLayouts/slideLayout220.xml"/><Relationship Id="rId1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76.xml"/><Relationship Id="rId32" Type="http://schemas.openxmlformats.org/officeDocument/2006/relationships/slideLayout" Target="../slideLayouts/slideLayout184.xml"/><Relationship Id="rId37" Type="http://schemas.openxmlformats.org/officeDocument/2006/relationships/slideLayout" Target="../slideLayouts/slideLayout189.xml"/><Relationship Id="rId40" Type="http://schemas.openxmlformats.org/officeDocument/2006/relationships/slideLayout" Target="../slideLayouts/slideLayout192.xml"/><Relationship Id="rId45" Type="http://schemas.openxmlformats.org/officeDocument/2006/relationships/slideLayout" Target="../slideLayouts/slideLayout197.xml"/><Relationship Id="rId53" Type="http://schemas.openxmlformats.org/officeDocument/2006/relationships/slideLayout" Target="../slideLayouts/slideLayout205.xml"/><Relationship Id="rId58" Type="http://schemas.openxmlformats.org/officeDocument/2006/relationships/slideLayout" Target="../slideLayouts/slideLayout210.xml"/><Relationship Id="rId66" Type="http://schemas.openxmlformats.org/officeDocument/2006/relationships/slideLayout" Target="../slideLayouts/slideLayout218.xml"/><Relationship Id="rId74" Type="http://schemas.openxmlformats.org/officeDocument/2006/relationships/tags" Target="../tags/tag233.xml"/><Relationship Id="rId5" Type="http://schemas.openxmlformats.org/officeDocument/2006/relationships/slideLayout" Target="../slideLayouts/slideLayout157.xml"/><Relationship Id="rId61" Type="http://schemas.openxmlformats.org/officeDocument/2006/relationships/slideLayout" Target="../slideLayouts/slideLayout213.xml"/><Relationship Id="rId19" Type="http://schemas.openxmlformats.org/officeDocument/2006/relationships/slideLayout" Target="../slideLayouts/slideLayout17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Relationship Id="rId27" Type="http://schemas.openxmlformats.org/officeDocument/2006/relationships/slideLayout" Target="../slideLayouts/slideLayout179.xml"/><Relationship Id="rId30" Type="http://schemas.openxmlformats.org/officeDocument/2006/relationships/slideLayout" Target="../slideLayouts/slideLayout182.xml"/><Relationship Id="rId35" Type="http://schemas.openxmlformats.org/officeDocument/2006/relationships/slideLayout" Target="../slideLayouts/slideLayout187.xml"/><Relationship Id="rId43" Type="http://schemas.openxmlformats.org/officeDocument/2006/relationships/slideLayout" Target="../slideLayouts/slideLayout195.xml"/><Relationship Id="rId48" Type="http://schemas.openxmlformats.org/officeDocument/2006/relationships/slideLayout" Target="../slideLayouts/slideLayout200.xml"/><Relationship Id="rId56" Type="http://schemas.openxmlformats.org/officeDocument/2006/relationships/slideLayout" Target="../slideLayouts/slideLayout208.xml"/><Relationship Id="rId64" Type="http://schemas.openxmlformats.org/officeDocument/2006/relationships/slideLayout" Target="../slideLayouts/slideLayout216.xml"/><Relationship Id="rId69" Type="http://schemas.openxmlformats.org/officeDocument/2006/relationships/slideLayout" Target="../slideLayouts/slideLayout221.xml"/><Relationship Id="rId77" Type="http://schemas.openxmlformats.org/officeDocument/2006/relationships/image" Target="../media/image1.emf"/><Relationship Id="rId8" Type="http://schemas.openxmlformats.org/officeDocument/2006/relationships/slideLayout" Target="../slideLayouts/slideLayout160.xml"/><Relationship Id="rId51" Type="http://schemas.openxmlformats.org/officeDocument/2006/relationships/slideLayout" Target="../slideLayouts/slideLayout203.xml"/><Relationship Id="rId72" Type="http://schemas.openxmlformats.org/officeDocument/2006/relationships/slideLayout" Target="../slideLayouts/slideLayout224.xml"/><Relationship Id="rId3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slideLayout" Target="../slideLayouts/slideLayout177.xml"/><Relationship Id="rId33" Type="http://schemas.openxmlformats.org/officeDocument/2006/relationships/slideLayout" Target="../slideLayouts/slideLayout185.xml"/><Relationship Id="rId38" Type="http://schemas.openxmlformats.org/officeDocument/2006/relationships/slideLayout" Target="../slideLayouts/slideLayout190.xml"/><Relationship Id="rId46" Type="http://schemas.openxmlformats.org/officeDocument/2006/relationships/slideLayout" Target="../slideLayouts/slideLayout198.xml"/><Relationship Id="rId59" Type="http://schemas.openxmlformats.org/officeDocument/2006/relationships/slideLayout" Target="../slideLayouts/slideLayout211.xml"/><Relationship Id="rId67" Type="http://schemas.openxmlformats.org/officeDocument/2006/relationships/slideLayout" Target="../slideLayouts/slideLayout219.xml"/><Relationship Id="rId20" Type="http://schemas.openxmlformats.org/officeDocument/2006/relationships/slideLayout" Target="../slideLayouts/slideLayout172.xml"/><Relationship Id="rId41" Type="http://schemas.openxmlformats.org/officeDocument/2006/relationships/slideLayout" Target="../slideLayouts/slideLayout193.xml"/><Relationship Id="rId54" Type="http://schemas.openxmlformats.org/officeDocument/2006/relationships/slideLayout" Target="../slideLayouts/slideLayout206.xml"/><Relationship Id="rId62" Type="http://schemas.openxmlformats.org/officeDocument/2006/relationships/slideLayout" Target="../slideLayouts/slideLayout214.xml"/><Relationship Id="rId70" Type="http://schemas.openxmlformats.org/officeDocument/2006/relationships/slideLayout" Target="../slideLayouts/slideLayout222.xml"/><Relationship Id="rId75" Type="http://schemas.openxmlformats.org/officeDocument/2006/relationships/tags" Target="../tags/tag23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5" Type="http://schemas.openxmlformats.org/officeDocument/2006/relationships/slideLayout" Target="../slideLayouts/slideLayout167.xml"/><Relationship Id="rId23" Type="http://schemas.openxmlformats.org/officeDocument/2006/relationships/slideLayout" Target="../slideLayouts/slideLayout175.xml"/><Relationship Id="rId28" Type="http://schemas.openxmlformats.org/officeDocument/2006/relationships/slideLayout" Target="../slideLayouts/slideLayout180.xml"/><Relationship Id="rId36" Type="http://schemas.openxmlformats.org/officeDocument/2006/relationships/slideLayout" Target="../slideLayouts/slideLayout188.xml"/><Relationship Id="rId49" Type="http://schemas.openxmlformats.org/officeDocument/2006/relationships/slideLayout" Target="../slideLayouts/slideLayout201.xml"/><Relationship Id="rId57" Type="http://schemas.openxmlformats.org/officeDocument/2006/relationships/slideLayout" Target="../slideLayouts/slideLayout209.xml"/><Relationship Id="rId10" Type="http://schemas.openxmlformats.org/officeDocument/2006/relationships/slideLayout" Target="../slideLayouts/slideLayout162.xml"/><Relationship Id="rId31" Type="http://schemas.openxmlformats.org/officeDocument/2006/relationships/slideLayout" Target="../slideLayouts/slideLayout183.xml"/><Relationship Id="rId44" Type="http://schemas.openxmlformats.org/officeDocument/2006/relationships/slideLayout" Target="../slideLayouts/slideLayout196.xml"/><Relationship Id="rId52" Type="http://schemas.openxmlformats.org/officeDocument/2006/relationships/slideLayout" Target="../slideLayouts/slideLayout204.xml"/><Relationship Id="rId60" Type="http://schemas.openxmlformats.org/officeDocument/2006/relationships/slideLayout" Target="../slideLayouts/slideLayout212.xml"/><Relationship Id="rId65" Type="http://schemas.openxmlformats.org/officeDocument/2006/relationships/slideLayout" Target="../slideLayouts/slideLayout217.xml"/><Relationship Id="rId73" Type="http://schemas.openxmlformats.org/officeDocument/2006/relationships/theme" Target="../theme/theme3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39" Type="http://schemas.openxmlformats.org/officeDocument/2006/relationships/slideLayout" Target="../slideLayouts/slideLayout191.xml"/><Relationship Id="rId34" Type="http://schemas.openxmlformats.org/officeDocument/2006/relationships/slideLayout" Target="../slideLayouts/slideLayout186.xml"/><Relationship Id="rId50" Type="http://schemas.openxmlformats.org/officeDocument/2006/relationships/slideLayout" Target="../slideLayouts/slideLayout202.xml"/><Relationship Id="rId55" Type="http://schemas.openxmlformats.org/officeDocument/2006/relationships/slideLayout" Target="../slideLayouts/slideLayout207.xml"/><Relationship Id="rId76" Type="http://schemas.openxmlformats.org/officeDocument/2006/relationships/oleObject" Target="../embeddings/oleObject1.bin"/><Relationship Id="rId7" Type="http://schemas.openxmlformats.org/officeDocument/2006/relationships/slideLayout" Target="../slideLayouts/slideLayout159.xml"/><Relationship Id="rId71" Type="http://schemas.openxmlformats.org/officeDocument/2006/relationships/slideLayout" Target="../slideLayouts/slideLayout223.xml"/><Relationship Id="rId2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2"/>
            </p:custDataLst>
            <p:extLst>
              <p:ext uri="{D42A27DB-BD31-4B8C-83A1-F6EECF244321}">
                <p14:modId xmlns:p14="http://schemas.microsoft.com/office/powerpoint/2010/main" val="1834003248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4" imgW="270" imgH="270" progId="TCLayout.ActiveDocument.1">
                  <p:embed/>
                </p:oleObj>
              </mc:Choice>
              <mc:Fallback>
                <p:oleObj name="think-cell Slide" r:id="rId8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B30DD1D-AFDC-4509-AD85-A7E1DC9AE856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175978" y="470849"/>
            <a:ext cx="8865069" cy="2513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75978" y="1380206"/>
            <a:ext cx="8865069" cy="3289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2D2B37-1E41-454B-B49C-A3105C52669E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36587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788" r:id="rId26"/>
    <p:sldLayoutId id="2147483789" r:id="rId27"/>
    <p:sldLayoutId id="2147483790" r:id="rId28"/>
    <p:sldLayoutId id="2147483791" r:id="rId29"/>
    <p:sldLayoutId id="2147483792" r:id="rId30"/>
    <p:sldLayoutId id="2147483793" r:id="rId31"/>
    <p:sldLayoutId id="2147483794" r:id="rId32"/>
    <p:sldLayoutId id="2147483795" r:id="rId33"/>
    <p:sldLayoutId id="2147483796" r:id="rId34"/>
    <p:sldLayoutId id="2147483797" r:id="rId35"/>
    <p:sldLayoutId id="2147483798" r:id="rId36"/>
    <p:sldLayoutId id="2147483799" r:id="rId37"/>
    <p:sldLayoutId id="2147483800" r:id="rId38"/>
    <p:sldLayoutId id="2147483801" r:id="rId39"/>
    <p:sldLayoutId id="2147483802" r:id="rId40"/>
    <p:sldLayoutId id="2147483803" r:id="rId41"/>
    <p:sldLayoutId id="2147483804" r:id="rId42"/>
    <p:sldLayoutId id="2147483805" r:id="rId43"/>
    <p:sldLayoutId id="2147483806" r:id="rId44"/>
    <p:sldLayoutId id="2147483807" r:id="rId45"/>
    <p:sldLayoutId id="2147483808" r:id="rId46"/>
    <p:sldLayoutId id="2147483809" r:id="rId47"/>
    <p:sldLayoutId id="2147483810" r:id="rId48"/>
    <p:sldLayoutId id="2147483811" r:id="rId49"/>
    <p:sldLayoutId id="2147483812" r:id="rId50"/>
    <p:sldLayoutId id="2147483813" r:id="rId51"/>
    <p:sldLayoutId id="2147483814" r:id="rId52"/>
    <p:sldLayoutId id="2147483815" r:id="rId53"/>
    <p:sldLayoutId id="2147483816" r:id="rId54"/>
    <p:sldLayoutId id="2147483817" r:id="rId55"/>
    <p:sldLayoutId id="2147483818" r:id="rId56"/>
    <p:sldLayoutId id="2147483819" r:id="rId57"/>
    <p:sldLayoutId id="2147483820" r:id="rId58"/>
    <p:sldLayoutId id="2147483821" r:id="rId59"/>
    <p:sldLayoutId id="2147483822" r:id="rId60"/>
    <p:sldLayoutId id="2147483823" r:id="rId61"/>
    <p:sldLayoutId id="2147483824" r:id="rId62"/>
    <p:sldLayoutId id="2147483825" r:id="rId63"/>
    <p:sldLayoutId id="2147483826" r:id="rId64"/>
    <p:sldLayoutId id="2147483827" r:id="rId65"/>
    <p:sldLayoutId id="2147483828" r:id="rId66"/>
    <p:sldLayoutId id="2147483829" r:id="rId67"/>
    <p:sldLayoutId id="2147483830" r:id="rId68"/>
    <p:sldLayoutId id="2147483831" r:id="rId69"/>
    <p:sldLayoutId id="2147483832" r:id="rId70"/>
    <p:sldLayoutId id="2147483833" r:id="rId71"/>
    <p:sldLayoutId id="2147483834" r:id="rId72"/>
    <p:sldLayoutId id="2147483982" r:id="rId73"/>
    <p:sldLayoutId id="2147483983" r:id="rId74"/>
    <p:sldLayoutId id="2147483661" r:id="rId75"/>
    <p:sldLayoutId id="2147483679" r:id="rId76"/>
    <p:sldLayoutId id="2147483667" r:id="rId77"/>
    <p:sldLayoutId id="2147483683" r:id="rId78"/>
    <p:sldLayoutId id="2147483685" r:id="rId79"/>
    <p:sldLayoutId id="2147483690" r:id="rId80"/>
  </p:sldLayoutIdLst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hf sldNum="0" hdr="0" ftr="0" dt="0"/>
  <p:txStyles>
    <p:titleStyle>
      <a:lvl1pPr algn="l" defTabSz="691286" rtl="0" eaLnBrk="1" latinLnBrk="0" hangingPunct="1">
        <a:lnSpc>
          <a:spcPct val="90000"/>
        </a:lnSpc>
        <a:spcBef>
          <a:spcPct val="0"/>
        </a:spcBef>
        <a:buNone/>
        <a:defRPr sz="1814" b="1" kern="1200" cap="all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691286" rtl="0" eaLnBrk="1" latinLnBrk="0" hangingPunct="1">
        <a:lnSpc>
          <a:spcPct val="110000"/>
        </a:lnSpc>
        <a:spcBef>
          <a:spcPts val="454"/>
        </a:spcBef>
        <a:spcAft>
          <a:spcPts val="227"/>
        </a:spcAft>
        <a:buFont typeface="Arial" panose="020B0604020202020204" pitchFamily="34" charset="0"/>
        <a:buChar char="​"/>
        <a:defRPr lang="en-US" sz="907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15006" indent="-130637" algn="l" defTabSz="691286" rtl="0" eaLnBrk="1" latinLnBrk="0" hangingPunct="1">
        <a:lnSpc>
          <a:spcPct val="90000"/>
        </a:lnSpc>
        <a:spcBef>
          <a:spcPts val="0"/>
        </a:spcBef>
        <a:spcAft>
          <a:spcPts val="227"/>
        </a:spcAft>
        <a:buClr>
          <a:schemeClr val="tx2"/>
        </a:buClr>
        <a:buFont typeface="Arial" panose="020B0604020202020204" pitchFamily="34" charset="0"/>
        <a:buChar char="•"/>
        <a:defRPr lang="en-US" sz="907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86467" indent="-125194" algn="l" defTabSz="691286" rtl="0" eaLnBrk="1" latinLnBrk="0" hangingPunct="1">
        <a:lnSpc>
          <a:spcPct val="90000"/>
        </a:lnSpc>
        <a:spcBef>
          <a:spcPts val="0"/>
        </a:spcBef>
        <a:spcAft>
          <a:spcPts val="227"/>
        </a:spcAft>
        <a:buClr>
          <a:schemeClr val="tx2"/>
        </a:buClr>
        <a:buFont typeface="Trebuchet MS" panose="020B0603020202020204" pitchFamily="34" charset="0"/>
        <a:buChar char="–"/>
        <a:defRPr lang="en-US" sz="907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691286" rtl="0" eaLnBrk="1" latinLnBrk="0" hangingPunct="1">
        <a:lnSpc>
          <a:spcPct val="110000"/>
        </a:lnSpc>
        <a:spcBef>
          <a:spcPts val="227"/>
        </a:spcBef>
        <a:spcAft>
          <a:spcPts val="227"/>
        </a:spcAft>
        <a:buClr>
          <a:schemeClr val="tx2"/>
        </a:buClr>
        <a:buFont typeface="Arial" panose="020B0604020202020204" pitchFamily="34" charset="0"/>
        <a:buChar char="​"/>
        <a:defRPr lang="en-US" sz="121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691286" rtl="0" eaLnBrk="1" latinLnBrk="0" hangingPunct="1">
        <a:lnSpc>
          <a:spcPct val="100000"/>
        </a:lnSpc>
        <a:spcBef>
          <a:spcPts val="0"/>
        </a:spcBef>
        <a:spcAft>
          <a:spcPts val="227"/>
        </a:spcAft>
        <a:buClrTx/>
        <a:buFont typeface="Arial" panose="020B0604020202020204" pitchFamily="34" charset="0"/>
        <a:buChar char="​"/>
        <a:defRPr lang="en-US" sz="121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04026" indent="-115214" algn="l" defTabSz="691286" rtl="0" eaLnBrk="1" latinLnBrk="0" hangingPunct="1">
        <a:lnSpc>
          <a:spcPct val="90000"/>
        </a:lnSpc>
        <a:spcBef>
          <a:spcPts val="0"/>
        </a:spcBef>
        <a:spcAft>
          <a:spcPts val="454"/>
        </a:spcAft>
        <a:buClr>
          <a:schemeClr val="tx2"/>
        </a:buClr>
        <a:buFont typeface="Arial" panose="020B0604020202020204" pitchFamily="34" charset="0"/>
        <a:buChar char="•"/>
        <a:defRPr lang="en-US" sz="121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691286" rtl="0" eaLnBrk="1" latinLnBrk="0" hangingPunct="1">
        <a:lnSpc>
          <a:spcPct val="90000"/>
        </a:lnSpc>
        <a:spcBef>
          <a:spcPts val="680"/>
        </a:spcBef>
        <a:spcAft>
          <a:spcPts val="680"/>
        </a:spcAft>
        <a:buFont typeface="Arial" panose="020B0604020202020204" pitchFamily="34" charset="0"/>
        <a:buChar char="​"/>
        <a:defRPr lang="en-US" sz="3326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691286" rtl="0" eaLnBrk="1" latinLnBrk="0" hangingPunct="1">
        <a:lnSpc>
          <a:spcPct val="90000"/>
        </a:lnSpc>
        <a:spcBef>
          <a:spcPts val="680"/>
        </a:spcBef>
        <a:spcAft>
          <a:spcPts val="0"/>
        </a:spcAft>
        <a:buFont typeface="Arial" panose="020B0604020202020204" pitchFamily="34" charset="0"/>
        <a:buChar char="​"/>
        <a:defRPr lang="en-US" sz="4082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691286" rtl="0" eaLnBrk="1" latinLnBrk="0" hangingPunct="1">
        <a:lnSpc>
          <a:spcPct val="100000"/>
        </a:lnSpc>
        <a:spcBef>
          <a:spcPts val="0"/>
        </a:spcBef>
        <a:spcAft>
          <a:spcPts val="680"/>
        </a:spcAft>
        <a:buFont typeface="Arial" panose="020B0604020202020204" pitchFamily="34" charset="0"/>
        <a:buChar char="​"/>
        <a:defRPr lang="en-US" sz="1814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1pPr>
      <a:lvl2pPr marL="345643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2pPr>
      <a:lvl3pPr marL="691286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3pPr>
      <a:lvl4pPr marL="1036930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4pPr>
      <a:lvl5pPr marL="1382573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5pPr>
      <a:lvl6pPr marL="1728216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6pPr>
      <a:lvl7pPr marL="2073859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7pPr>
      <a:lvl8pPr marL="2419502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8pPr>
      <a:lvl9pPr marL="2765146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4"/>
            </p:custDataLst>
            <p:extLst>
              <p:ext uri="{D42A27DB-BD31-4B8C-83A1-F6EECF244321}">
                <p14:modId xmlns:p14="http://schemas.microsoft.com/office/powerpoint/2010/main" val="664636356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6" imgW="270" imgH="270" progId="TCLayout.ActiveDocument.1">
                  <p:embed/>
                </p:oleObj>
              </mc:Choice>
              <mc:Fallback>
                <p:oleObj name="think-cell Slide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B30DD1D-AFDC-4509-AD85-A7E1DC9AE856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175978" y="470849"/>
            <a:ext cx="8865069" cy="2513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75978" y="1380206"/>
            <a:ext cx="8865069" cy="3289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2D2B37-1E41-454B-B49C-A3105C52669E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31568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0" r:id="rId15"/>
    <p:sldLayoutId id="2147483851" r:id="rId16"/>
    <p:sldLayoutId id="2147483852" r:id="rId17"/>
    <p:sldLayoutId id="2147483853" r:id="rId18"/>
    <p:sldLayoutId id="2147483854" r:id="rId19"/>
    <p:sldLayoutId id="2147483855" r:id="rId20"/>
    <p:sldLayoutId id="2147483856" r:id="rId21"/>
    <p:sldLayoutId id="2147483857" r:id="rId22"/>
    <p:sldLayoutId id="2147483858" r:id="rId23"/>
    <p:sldLayoutId id="2147483859" r:id="rId24"/>
    <p:sldLayoutId id="2147483860" r:id="rId25"/>
    <p:sldLayoutId id="2147483861" r:id="rId26"/>
    <p:sldLayoutId id="2147483862" r:id="rId27"/>
    <p:sldLayoutId id="2147483863" r:id="rId28"/>
    <p:sldLayoutId id="2147483864" r:id="rId29"/>
    <p:sldLayoutId id="2147483865" r:id="rId30"/>
    <p:sldLayoutId id="2147483866" r:id="rId31"/>
    <p:sldLayoutId id="2147483867" r:id="rId32"/>
    <p:sldLayoutId id="2147483868" r:id="rId33"/>
    <p:sldLayoutId id="2147483869" r:id="rId34"/>
    <p:sldLayoutId id="2147483870" r:id="rId35"/>
    <p:sldLayoutId id="2147483871" r:id="rId36"/>
    <p:sldLayoutId id="2147483872" r:id="rId37"/>
    <p:sldLayoutId id="2147483873" r:id="rId38"/>
    <p:sldLayoutId id="2147483874" r:id="rId39"/>
    <p:sldLayoutId id="2147483875" r:id="rId40"/>
    <p:sldLayoutId id="2147483876" r:id="rId41"/>
    <p:sldLayoutId id="2147483877" r:id="rId42"/>
    <p:sldLayoutId id="2147483878" r:id="rId43"/>
    <p:sldLayoutId id="2147483879" r:id="rId44"/>
    <p:sldLayoutId id="2147483880" r:id="rId45"/>
    <p:sldLayoutId id="2147483881" r:id="rId46"/>
    <p:sldLayoutId id="2147483882" r:id="rId47"/>
    <p:sldLayoutId id="2147483883" r:id="rId48"/>
    <p:sldLayoutId id="2147483884" r:id="rId49"/>
    <p:sldLayoutId id="2147483885" r:id="rId50"/>
    <p:sldLayoutId id="2147483886" r:id="rId51"/>
    <p:sldLayoutId id="2147483887" r:id="rId52"/>
    <p:sldLayoutId id="2147483888" r:id="rId53"/>
    <p:sldLayoutId id="2147483889" r:id="rId54"/>
    <p:sldLayoutId id="2147483890" r:id="rId55"/>
    <p:sldLayoutId id="2147483891" r:id="rId56"/>
    <p:sldLayoutId id="2147483892" r:id="rId57"/>
    <p:sldLayoutId id="2147483893" r:id="rId58"/>
    <p:sldLayoutId id="2147483894" r:id="rId59"/>
    <p:sldLayoutId id="2147483895" r:id="rId60"/>
    <p:sldLayoutId id="2147483896" r:id="rId61"/>
    <p:sldLayoutId id="2147483897" r:id="rId62"/>
    <p:sldLayoutId id="2147483898" r:id="rId63"/>
    <p:sldLayoutId id="2147483899" r:id="rId64"/>
    <p:sldLayoutId id="2147483900" r:id="rId65"/>
    <p:sldLayoutId id="2147483901" r:id="rId66"/>
    <p:sldLayoutId id="2147483902" r:id="rId67"/>
    <p:sldLayoutId id="2147483903" r:id="rId68"/>
    <p:sldLayoutId id="2147483904" r:id="rId69"/>
    <p:sldLayoutId id="2147483905" r:id="rId70"/>
    <p:sldLayoutId id="2147483906" r:id="rId71"/>
    <p:sldLayoutId id="2147483907" r:id="rId72"/>
  </p:sldLayoutIdLst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hf sldNum="0" hdr="0" ftr="0" dt="0"/>
  <p:txStyles>
    <p:titleStyle>
      <a:lvl1pPr algn="l" defTabSz="691286" rtl="0" eaLnBrk="1" latinLnBrk="0" hangingPunct="1">
        <a:lnSpc>
          <a:spcPct val="90000"/>
        </a:lnSpc>
        <a:spcBef>
          <a:spcPct val="0"/>
        </a:spcBef>
        <a:buNone/>
        <a:defRPr sz="1814" b="1" kern="1200" cap="all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691286" rtl="0" eaLnBrk="1" latinLnBrk="0" hangingPunct="1">
        <a:lnSpc>
          <a:spcPct val="110000"/>
        </a:lnSpc>
        <a:spcBef>
          <a:spcPts val="454"/>
        </a:spcBef>
        <a:spcAft>
          <a:spcPts val="227"/>
        </a:spcAft>
        <a:buFont typeface="Arial" panose="020B0604020202020204" pitchFamily="34" charset="0"/>
        <a:buChar char="​"/>
        <a:defRPr lang="en-US" sz="907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15006" indent="-130637" algn="l" defTabSz="691286" rtl="0" eaLnBrk="1" latinLnBrk="0" hangingPunct="1">
        <a:lnSpc>
          <a:spcPct val="90000"/>
        </a:lnSpc>
        <a:spcBef>
          <a:spcPts val="0"/>
        </a:spcBef>
        <a:spcAft>
          <a:spcPts val="227"/>
        </a:spcAft>
        <a:buClr>
          <a:schemeClr val="tx2"/>
        </a:buClr>
        <a:buFont typeface="Arial" panose="020B0604020202020204" pitchFamily="34" charset="0"/>
        <a:buChar char="•"/>
        <a:defRPr lang="en-US" sz="907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86467" indent="-125194" algn="l" defTabSz="691286" rtl="0" eaLnBrk="1" latinLnBrk="0" hangingPunct="1">
        <a:lnSpc>
          <a:spcPct val="90000"/>
        </a:lnSpc>
        <a:spcBef>
          <a:spcPts val="0"/>
        </a:spcBef>
        <a:spcAft>
          <a:spcPts val="227"/>
        </a:spcAft>
        <a:buClr>
          <a:schemeClr val="tx2"/>
        </a:buClr>
        <a:buFont typeface="Trebuchet MS" panose="020B0603020202020204" pitchFamily="34" charset="0"/>
        <a:buChar char="–"/>
        <a:defRPr lang="en-US" sz="907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691286" rtl="0" eaLnBrk="1" latinLnBrk="0" hangingPunct="1">
        <a:lnSpc>
          <a:spcPct val="110000"/>
        </a:lnSpc>
        <a:spcBef>
          <a:spcPts val="227"/>
        </a:spcBef>
        <a:spcAft>
          <a:spcPts val="227"/>
        </a:spcAft>
        <a:buClr>
          <a:schemeClr val="tx2"/>
        </a:buClr>
        <a:buFont typeface="Arial" panose="020B0604020202020204" pitchFamily="34" charset="0"/>
        <a:buChar char="​"/>
        <a:defRPr lang="en-US" sz="121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691286" rtl="0" eaLnBrk="1" latinLnBrk="0" hangingPunct="1">
        <a:lnSpc>
          <a:spcPct val="100000"/>
        </a:lnSpc>
        <a:spcBef>
          <a:spcPts val="0"/>
        </a:spcBef>
        <a:spcAft>
          <a:spcPts val="227"/>
        </a:spcAft>
        <a:buClrTx/>
        <a:buFont typeface="Arial" panose="020B0604020202020204" pitchFamily="34" charset="0"/>
        <a:buChar char="​"/>
        <a:defRPr lang="en-US" sz="121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04026" indent="-115214" algn="l" defTabSz="691286" rtl="0" eaLnBrk="1" latinLnBrk="0" hangingPunct="1">
        <a:lnSpc>
          <a:spcPct val="90000"/>
        </a:lnSpc>
        <a:spcBef>
          <a:spcPts val="0"/>
        </a:spcBef>
        <a:spcAft>
          <a:spcPts val="454"/>
        </a:spcAft>
        <a:buClr>
          <a:schemeClr val="tx2"/>
        </a:buClr>
        <a:buFont typeface="Arial" panose="020B0604020202020204" pitchFamily="34" charset="0"/>
        <a:buChar char="•"/>
        <a:defRPr lang="en-US" sz="121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691286" rtl="0" eaLnBrk="1" latinLnBrk="0" hangingPunct="1">
        <a:lnSpc>
          <a:spcPct val="90000"/>
        </a:lnSpc>
        <a:spcBef>
          <a:spcPts val="680"/>
        </a:spcBef>
        <a:spcAft>
          <a:spcPts val="680"/>
        </a:spcAft>
        <a:buFont typeface="Arial" panose="020B0604020202020204" pitchFamily="34" charset="0"/>
        <a:buChar char="​"/>
        <a:defRPr lang="en-US" sz="3326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691286" rtl="0" eaLnBrk="1" latinLnBrk="0" hangingPunct="1">
        <a:lnSpc>
          <a:spcPct val="90000"/>
        </a:lnSpc>
        <a:spcBef>
          <a:spcPts val="680"/>
        </a:spcBef>
        <a:spcAft>
          <a:spcPts val="0"/>
        </a:spcAft>
        <a:buFont typeface="Arial" panose="020B0604020202020204" pitchFamily="34" charset="0"/>
        <a:buChar char="​"/>
        <a:defRPr lang="en-US" sz="4082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691286" rtl="0" eaLnBrk="1" latinLnBrk="0" hangingPunct="1">
        <a:lnSpc>
          <a:spcPct val="100000"/>
        </a:lnSpc>
        <a:spcBef>
          <a:spcPts val="0"/>
        </a:spcBef>
        <a:spcAft>
          <a:spcPts val="680"/>
        </a:spcAft>
        <a:buFont typeface="Arial" panose="020B0604020202020204" pitchFamily="34" charset="0"/>
        <a:buChar char="​"/>
        <a:defRPr lang="en-US" sz="1814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1pPr>
      <a:lvl2pPr marL="345643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2pPr>
      <a:lvl3pPr marL="691286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3pPr>
      <a:lvl4pPr marL="1036930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4pPr>
      <a:lvl5pPr marL="1382573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5pPr>
      <a:lvl6pPr marL="1728216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6pPr>
      <a:lvl7pPr marL="2073859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7pPr>
      <a:lvl8pPr marL="2419502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8pPr>
      <a:lvl9pPr marL="2765146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4"/>
            </p:custDataLst>
            <p:extLst>
              <p:ext uri="{D42A27DB-BD31-4B8C-83A1-F6EECF244321}">
                <p14:modId xmlns:p14="http://schemas.microsoft.com/office/powerpoint/2010/main" val="3929119305"/>
              </p:ext>
            </p:extLst>
          </p:nvPr>
        </p:nvGraphicFramePr>
        <p:xfrm>
          <a:off x="1201" y="1201"/>
          <a:ext cx="1200" cy="1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6" imgW="270" imgH="270" progId="TCLayout.ActiveDocument.1">
                  <p:embed/>
                </p:oleObj>
              </mc:Choice>
              <mc:Fallback>
                <p:oleObj name="think-cell Slide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201" y="1201"/>
                        <a:ext cx="1200" cy="1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B30DD1D-AFDC-4509-AD85-A7E1DC9AE856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0" y="0"/>
            <a:ext cx="120013" cy="120018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814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175978" y="470849"/>
            <a:ext cx="8865069" cy="2513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75978" y="1380206"/>
            <a:ext cx="8865069" cy="32896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2D2B37-1E41-454B-B49C-A3105C52669E}"/>
              </a:ext>
            </a:extLst>
          </p:cNvPr>
          <p:cNvSpPr txBox="1"/>
          <p:nvPr userDrawn="1"/>
        </p:nvSpPr>
        <p:spPr>
          <a:xfrm>
            <a:off x="8753014" y="4842354"/>
            <a:ext cx="288032" cy="11631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91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91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6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38699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4" r:id="rId16"/>
    <p:sldLayoutId id="2147483925" r:id="rId17"/>
    <p:sldLayoutId id="2147483926" r:id="rId18"/>
    <p:sldLayoutId id="2147483927" r:id="rId19"/>
    <p:sldLayoutId id="2147483928" r:id="rId20"/>
    <p:sldLayoutId id="2147483929" r:id="rId21"/>
    <p:sldLayoutId id="2147483930" r:id="rId22"/>
    <p:sldLayoutId id="2147483931" r:id="rId23"/>
    <p:sldLayoutId id="2147483932" r:id="rId24"/>
    <p:sldLayoutId id="2147483933" r:id="rId25"/>
    <p:sldLayoutId id="2147483934" r:id="rId26"/>
    <p:sldLayoutId id="2147483935" r:id="rId27"/>
    <p:sldLayoutId id="2147483936" r:id="rId28"/>
    <p:sldLayoutId id="2147483937" r:id="rId29"/>
    <p:sldLayoutId id="2147483938" r:id="rId30"/>
    <p:sldLayoutId id="2147483939" r:id="rId31"/>
    <p:sldLayoutId id="2147483940" r:id="rId32"/>
    <p:sldLayoutId id="2147483941" r:id="rId33"/>
    <p:sldLayoutId id="2147483942" r:id="rId34"/>
    <p:sldLayoutId id="2147483943" r:id="rId35"/>
    <p:sldLayoutId id="2147483944" r:id="rId36"/>
    <p:sldLayoutId id="2147483945" r:id="rId37"/>
    <p:sldLayoutId id="2147483946" r:id="rId38"/>
    <p:sldLayoutId id="2147483947" r:id="rId39"/>
    <p:sldLayoutId id="2147483948" r:id="rId40"/>
    <p:sldLayoutId id="2147483949" r:id="rId41"/>
    <p:sldLayoutId id="2147483950" r:id="rId42"/>
    <p:sldLayoutId id="2147483951" r:id="rId43"/>
    <p:sldLayoutId id="2147483952" r:id="rId44"/>
    <p:sldLayoutId id="2147483953" r:id="rId45"/>
    <p:sldLayoutId id="2147483954" r:id="rId46"/>
    <p:sldLayoutId id="2147483955" r:id="rId47"/>
    <p:sldLayoutId id="2147483956" r:id="rId48"/>
    <p:sldLayoutId id="2147483957" r:id="rId49"/>
    <p:sldLayoutId id="2147483958" r:id="rId50"/>
    <p:sldLayoutId id="2147483959" r:id="rId51"/>
    <p:sldLayoutId id="2147483960" r:id="rId52"/>
    <p:sldLayoutId id="2147483961" r:id="rId53"/>
    <p:sldLayoutId id="2147483962" r:id="rId54"/>
    <p:sldLayoutId id="2147483963" r:id="rId55"/>
    <p:sldLayoutId id="2147483964" r:id="rId56"/>
    <p:sldLayoutId id="2147483965" r:id="rId57"/>
    <p:sldLayoutId id="2147483966" r:id="rId58"/>
    <p:sldLayoutId id="2147483967" r:id="rId59"/>
    <p:sldLayoutId id="2147483968" r:id="rId60"/>
    <p:sldLayoutId id="2147483969" r:id="rId61"/>
    <p:sldLayoutId id="2147483970" r:id="rId62"/>
    <p:sldLayoutId id="2147483971" r:id="rId63"/>
    <p:sldLayoutId id="2147483972" r:id="rId64"/>
    <p:sldLayoutId id="2147483973" r:id="rId65"/>
    <p:sldLayoutId id="2147483974" r:id="rId66"/>
    <p:sldLayoutId id="2147483975" r:id="rId67"/>
    <p:sldLayoutId id="2147483976" r:id="rId68"/>
    <p:sldLayoutId id="2147483977" r:id="rId69"/>
    <p:sldLayoutId id="2147483978" r:id="rId70"/>
    <p:sldLayoutId id="2147483979" r:id="rId71"/>
    <p:sldLayoutId id="2147483980" r:id="rId72"/>
  </p:sldLayoutIdLst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hf sldNum="0" hdr="0" ftr="0" dt="0"/>
  <p:txStyles>
    <p:titleStyle>
      <a:lvl1pPr algn="l" defTabSz="691286" rtl="0" eaLnBrk="1" latinLnBrk="0" hangingPunct="1">
        <a:lnSpc>
          <a:spcPct val="90000"/>
        </a:lnSpc>
        <a:spcBef>
          <a:spcPct val="0"/>
        </a:spcBef>
        <a:buNone/>
        <a:defRPr sz="1814" b="1" kern="1200" cap="all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691286" rtl="0" eaLnBrk="1" latinLnBrk="0" hangingPunct="1">
        <a:lnSpc>
          <a:spcPct val="110000"/>
        </a:lnSpc>
        <a:spcBef>
          <a:spcPts val="454"/>
        </a:spcBef>
        <a:spcAft>
          <a:spcPts val="227"/>
        </a:spcAft>
        <a:buFont typeface="Arial" panose="020B0604020202020204" pitchFamily="34" charset="0"/>
        <a:buChar char="​"/>
        <a:defRPr lang="en-US" sz="907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15006" indent="-130637" algn="l" defTabSz="691286" rtl="0" eaLnBrk="1" latinLnBrk="0" hangingPunct="1">
        <a:lnSpc>
          <a:spcPct val="90000"/>
        </a:lnSpc>
        <a:spcBef>
          <a:spcPts val="0"/>
        </a:spcBef>
        <a:spcAft>
          <a:spcPts val="227"/>
        </a:spcAft>
        <a:buClr>
          <a:schemeClr val="tx2"/>
        </a:buClr>
        <a:buFont typeface="Arial" panose="020B0604020202020204" pitchFamily="34" charset="0"/>
        <a:buChar char="•"/>
        <a:defRPr lang="en-US" sz="907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86467" indent="-125194" algn="l" defTabSz="691286" rtl="0" eaLnBrk="1" latinLnBrk="0" hangingPunct="1">
        <a:lnSpc>
          <a:spcPct val="90000"/>
        </a:lnSpc>
        <a:spcBef>
          <a:spcPts val="0"/>
        </a:spcBef>
        <a:spcAft>
          <a:spcPts val="227"/>
        </a:spcAft>
        <a:buClr>
          <a:schemeClr val="tx2"/>
        </a:buClr>
        <a:buFont typeface="Trebuchet MS" panose="020B0603020202020204" pitchFamily="34" charset="0"/>
        <a:buChar char="–"/>
        <a:defRPr lang="en-US" sz="907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691286" rtl="0" eaLnBrk="1" latinLnBrk="0" hangingPunct="1">
        <a:lnSpc>
          <a:spcPct val="110000"/>
        </a:lnSpc>
        <a:spcBef>
          <a:spcPts val="227"/>
        </a:spcBef>
        <a:spcAft>
          <a:spcPts val="227"/>
        </a:spcAft>
        <a:buClr>
          <a:schemeClr val="tx2"/>
        </a:buClr>
        <a:buFont typeface="Arial" panose="020B0604020202020204" pitchFamily="34" charset="0"/>
        <a:buChar char="​"/>
        <a:defRPr lang="en-US" sz="121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691286" rtl="0" eaLnBrk="1" latinLnBrk="0" hangingPunct="1">
        <a:lnSpc>
          <a:spcPct val="100000"/>
        </a:lnSpc>
        <a:spcBef>
          <a:spcPts val="0"/>
        </a:spcBef>
        <a:spcAft>
          <a:spcPts val="227"/>
        </a:spcAft>
        <a:buClrTx/>
        <a:buFont typeface="Arial" panose="020B0604020202020204" pitchFamily="34" charset="0"/>
        <a:buChar char="​"/>
        <a:defRPr lang="en-US" sz="121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04026" indent="-115214" algn="l" defTabSz="691286" rtl="0" eaLnBrk="1" latinLnBrk="0" hangingPunct="1">
        <a:lnSpc>
          <a:spcPct val="90000"/>
        </a:lnSpc>
        <a:spcBef>
          <a:spcPts val="0"/>
        </a:spcBef>
        <a:spcAft>
          <a:spcPts val="454"/>
        </a:spcAft>
        <a:buClr>
          <a:schemeClr val="tx2"/>
        </a:buClr>
        <a:buFont typeface="Arial" panose="020B0604020202020204" pitchFamily="34" charset="0"/>
        <a:buChar char="•"/>
        <a:defRPr lang="en-US" sz="121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691286" rtl="0" eaLnBrk="1" latinLnBrk="0" hangingPunct="1">
        <a:lnSpc>
          <a:spcPct val="90000"/>
        </a:lnSpc>
        <a:spcBef>
          <a:spcPts val="680"/>
        </a:spcBef>
        <a:spcAft>
          <a:spcPts val="680"/>
        </a:spcAft>
        <a:buFont typeface="Arial" panose="020B0604020202020204" pitchFamily="34" charset="0"/>
        <a:buChar char="​"/>
        <a:defRPr lang="en-US" sz="3326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691286" rtl="0" eaLnBrk="1" latinLnBrk="0" hangingPunct="1">
        <a:lnSpc>
          <a:spcPct val="90000"/>
        </a:lnSpc>
        <a:spcBef>
          <a:spcPts val="680"/>
        </a:spcBef>
        <a:spcAft>
          <a:spcPts val="0"/>
        </a:spcAft>
        <a:buFont typeface="Arial" panose="020B0604020202020204" pitchFamily="34" charset="0"/>
        <a:buChar char="​"/>
        <a:defRPr lang="en-US" sz="4082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691286" rtl="0" eaLnBrk="1" latinLnBrk="0" hangingPunct="1">
        <a:lnSpc>
          <a:spcPct val="100000"/>
        </a:lnSpc>
        <a:spcBef>
          <a:spcPts val="0"/>
        </a:spcBef>
        <a:spcAft>
          <a:spcPts val="680"/>
        </a:spcAft>
        <a:buFont typeface="Arial" panose="020B0604020202020204" pitchFamily="34" charset="0"/>
        <a:buChar char="​"/>
        <a:defRPr lang="en-US" sz="1814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1pPr>
      <a:lvl2pPr marL="345643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2pPr>
      <a:lvl3pPr marL="691286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3pPr>
      <a:lvl4pPr marL="1036930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4pPr>
      <a:lvl5pPr marL="1382573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5pPr>
      <a:lvl6pPr marL="1728216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6pPr>
      <a:lvl7pPr marL="2073859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7pPr>
      <a:lvl8pPr marL="2419502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8pPr>
      <a:lvl9pPr marL="2765146" algn="l" defTabSz="691286" rtl="0" eaLnBrk="1" latinLnBrk="0" hangingPunct="1">
        <a:defRPr sz="13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2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4.xml"/><Relationship Id="rId5" Type="http://schemas.openxmlformats.org/officeDocument/2006/relationships/hyperlink" Target="https://www.birdlife.org/wp-content/uploads/2023/12/Valuing-Grasslands-Report-Dec-2023.pdf" TargetMode="External"/><Relationship Id="rId4" Type="http://schemas.openxmlformats.org/officeDocument/2006/relationships/hyperlink" Target="https://www.plantlife.org.uk/wp-content/uploads/2023/12/Plantlife-WWF-Equilibrium-Research-briefing-grasslands-in-NDCs-NBSAPs-Nov-2023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6" name="Google Shape;816;p1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00" y="1299"/>
            <a:ext cx="1200" cy="12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550C64C-D191-4A67-8C49-88936218BD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15816" y="3664543"/>
            <a:ext cx="6105955" cy="247330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  <a:latin typeface="+mn-lt"/>
              </a:rPr>
              <a:t>23 January, 2024</a:t>
            </a:r>
          </a:p>
        </p:txBody>
      </p:sp>
      <p:sp>
        <p:nvSpPr>
          <p:cNvPr id="818" name="Google Shape;818;p110"/>
          <p:cNvSpPr txBox="1">
            <a:spLocks noGrp="1"/>
          </p:cNvSpPr>
          <p:nvPr>
            <p:ph type="ctrTitle"/>
          </p:nvPr>
        </p:nvSpPr>
        <p:spPr>
          <a:xfrm>
            <a:off x="2450106" y="1302009"/>
            <a:ext cx="6317797" cy="237261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r>
              <a:rPr lang="en-GB" sz="2419" b="1" dirty="0">
                <a:solidFill>
                  <a:schemeClr val="tx1"/>
                </a:solidFill>
              </a:rPr>
              <a:t>Global Grasslands</a:t>
            </a:r>
            <a:r>
              <a:rPr lang="en-GB" sz="2419" dirty="0">
                <a:solidFill>
                  <a:schemeClr val="tx1"/>
                </a:solidFill>
              </a:rPr>
              <a:t> &amp;</a:t>
            </a:r>
            <a:r>
              <a:rPr lang="en-GB" sz="2419" b="1" dirty="0">
                <a:solidFill>
                  <a:schemeClr val="tx1"/>
                </a:solidFill>
              </a:rPr>
              <a:t> Savannahs </a:t>
            </a:r>
            <a:br>
              <a:rPr lang="en-GB" sz="2419" b="1" dirty="0">
                <a:solidFill>
                  <a:schemeClr val="tx1"/>
                </a:solidFill>
              </a:rPr>
            </a:br>
            <a:r>
              <a:rPr lang="en-GB" sz="2419" b="1" dirty="0">
                <a:solidFill>
                  <a:schemeClr val="tx1"/>
                </a:solidFill>
              </a:rPr>
              <a:t>Dialogue Platform</a:t>
            </a:r>
            <a:br>
              <a:rPr lang="en-GB" sz="3629" b="1" dirty="0">
                <a:solidFill>
                  <a:schemeClr val="tx1"/>
                </a:solidFill>
              </a:rPr>
            </a:br>
            <a:br>
              <a:rPr lang="en-GB" sz="3629" b="1" dirty="0">
                <a:solidFill>
                  <a:schemeClr val="tx1"/>
                </a:solidFill>
              </a:rPr>
            </a:br>
            <a:r>
              <a:rPr lang="en-GB" sz="2419" b="1" i="1" dirty="0">
                <a:solidFill>
                  <a:schemeClr val="tx1"/>
                </a:solidFill>
              </a:rPr>
              <a:t>Spotlight: North America</a:t>
            </a:r>
            <a:br>
              <a:rPr lang="en-GB" sz="1814" b="1" i="1" dirty="0">
                <a:solidFill>
                  <a:schemeClr val="tx1"/>
                </a:solidFill>
              </a:rPr>
            </a:br>
            <a:endParaRPr sz="1814" b="1" i="1" dirty="0">
              <a:solidFill>
                <a:schemeClr val="tx1"/>
              </a:solidFill>
            </a:endParaRPr>
          </a:p>
        </p:txBody>
      </p:sp>
      <p:pic>
        <p:nvPicPr>
          <p:cNvPr id="819" name="Google Shape;819;p110" descr="P1150606.JPG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02"/>
            <a:ext cx="2243906" cy="51845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" name="Google Shape;825;p111"/>
          <p:cNvSpPr/>
          <p:nvPr/>
        </p:nvSpPr>
        <p:spPr>
          <a:xfrm>
            <a:off x="3414958" y="286859"/>
            <a:ext cx="2606713" cy="1050451"/>
          </a:xfrm>
          <a:prstGeom prst="rect">
            <a:avLst/>
          </a:prstGeom>
          <a:noFill/>
          <a:ln w="9525" cap="rnd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08863" tIns="108863" rIns="108863" bIns="108863" anchor="b" anchorCtr="0">
            <a:noAutofit/>
          </a:bodyPr>
          <a:lstStyle/>
          <a:p>
            <a:pPr>
              <a:buClr>
                <a:srgbClr val="000000"/>
              </a:buClr>
              <a:buSzPts val="6000"/>
            </a:pPr>
            <a:endParaRPr sz="4536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6" name="Google Shape;826;p111"/>
          <p:cNvSpPr/>
          <p:nvPr/>
        </p:nvSpPr>
        <p:spPr>
          <a:xfrm>
            <a:off x="3277981" y="843342"/>
            <a:ext cx="5730660" cy="48820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110000"/>
              </a:lnSpc>
              <a:buClr>
                <a:srgbClr val="000000"/>
              </a:buClr>
              <a:buSzPts val="2400"/>
            </a:pPr>
            <a:endParaRPr sz="1663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27" name="Google Shape;827;p1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00" y="1299"/>
            <a:ext cx="1201" cy="1201"/>
          </a:xfrm>
          <a:prstGeom prst="rect">
            <a:avLst/>
          </a:prstGeom>
          <a:noFill/>
          <a:ln>
            <a:noFill/>
          </a:ln>
        </p:spPr>
      </p:pic>
      <p:pic>
        <p:nvPicPr>
          <p:cNvPr id="828" name="Google Shape;828;p1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00" y="1299"/>
            <a:ext cx="1200" cy="1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29" name="Google Shape;829;p1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00" y="1299"/>
            <a:ext cx="1200" cy="1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30" name="Google Shape;830;p1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00" y="1299"/>
            <a:ext cx="1200" cy="1200"/>
          </a:xfrm>
          <a:prstGeom prst="rect">
            <a:avLst/>
          </a:prstGeom>
          <a:noFill/>
          <a:ln>
            <a:noFill/>
          </a:ln>
        </p:spPr>
      </p:pic>
      <p:sp>
        <p:nvSpPr>
          <p:cNvPr id="832" name="Google Shape;832;p111"/>
          <p:cNvSpPr txBox="1"/>
          <p:nvPr/>
        </p:nvSpPr>
        <p:spPr>
          <a:xfrm>
            <a:off x="3597348" y="466152"/>
            <a:ext cx="2216723" cy="698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9116" tIns="34549" rIns="69116" bIns="34549" anchor="t" anchorCtr="0">
            <a:noAutofit/>
          </a:bodyPr>
          <a:lstStyle/>
          <a:p>
            <a:pPr algn="ctr">
              <a:buClr>
                <a:srgbClr val="000000"/>
              </a:buClr>
              <a:buSzPts val="5400"/>
            </a:pPr>
            <a:r>
              <a:rPr lang="en-GB" sz="4082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sz="1058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33" name="Google Shape;833;p1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00" y="1299"/>
            <a:ext cx="1200" cy="12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78C40B-D494-3ACD-6B22-68A68DA05E29}"/>
              </a:ext>
            </a:extLst>
          </p:cNvPr>
          <p:cNvSpPr txBox="1"/>
          <p:nvPr/>
        </p:nvSpPr>
        <p:spPr>
          <a:xfrm>
            <a:off x="1491614" y="1612970"/>
            <a:ext cx="6292216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ing and welcome</a:t>
            </a:r>
          </a:p>
          <a:p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s and Announcements: COP reflections, publications,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 Grasslands Roadmap: </a:t>
            </a: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istian </a:t>
            </a:r>
            <a:r>
              <a:rPr lang="en-US" sz="16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uso</a:t>
            </a: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nvironment Canada</a:t>
            </a:r>
          </a:p>
          <a:p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 Plains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owprint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port 2023: </a:t>
            </a: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. Patrick </a:t>
            </a:r>
            <a:r>
              <a:rPr lang="en-US" sz="16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ndrum</a:t>
            </a: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WWF-US</a:t>
            </a:r>
          </a:p>
          <a:p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zing the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país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6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do</a:t>
            </a: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ravia, CEO, Rancho El Ojo and Founding Partner, Internacional </a:t>
            </a:r>
            <a:r>
              <a:rPr lang="en-US" sz="16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nadera</a:t>
            </a:r>
            <a:endParaRPr lang="en-US" sz="1600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Google Shape;480;p70"/>
          <p:cNvSpPr txBox="1">
            <a:spLocks noGrp="1"/>
          </p:cNvSpPr>
          <p:nvPr>
            <p:ph type="subTitle" idx="1"/>
          </p:nvPr>
        </p:nvSpPr>
        <p:spPr>
          <a:prstGeom prst="rect">
            <a:avLst/>
          </a:prstGeom>
        </p:spPr>
        <p:txBody>
          <a:bodyPr spcFirstLastPara="1" vert="horz" wrap="square" lIns="92155" tIns="92155" rIns="92155" bIns="92155" rtlCol="0" anchor="ctr" anchorCtr="0">
            <a:noAutofit/>
          </a:bodyPr>
          <a:lstStyle/>
          <a:p>
            <a:pPr marL="0" indent="0"/>
            <a:r>
              <a:rPr lang="en"/>
              <a:t>Food Practice - March 2022</a:t>
            </a:r>
            <a:endParaRPr/>
          </a:p>
        </p:txBody>
      </p:sp>
      <p:sp>
        <p:nvSpPr>
          <p:cNvPr id="481" name="Google Shape;481;p70"/>
          <p:cNvSpPr txBox="1">
            <a:spLocks noGrp="1"/>
          </p:cNvSpPr>
          <p:nvPr>
            <p:ph type="subTitle" idx="2"/>
          </p:nvPr>
        </p:nvSpPr>
        <p:spPr>
          <a:xfrm>
            <a:off x="7229906" y="4723572"/>
            <a:ext cx="1724563" cy="274575"/>
          </a:xfrm>
          <a:prstGeom prst="rect">
            <a:avLst/>
          </a:prstGeom>
        </p:spPr>
        <p:txBody>
          <a:bodyPr spcFirstLastPara="1" vert="horz" wrap="square" lIns="92155" tIns="92155" rIns="92155" bIns="92155" rtlCol="0" anchor="ctr" anchorCtr="0">
            <a:noAutofit/>
          </a:bodyPr>
          <a:lstStyle/>
          <a:p>
            <a:pPr marL="0" indent="0">
              <a:buClr>
                <a:schemeClr val="dk1"/>
              </a:buClr>
              <a:buSzPts val="1100"/>
            </a:pPr>
            <a:endParaRPr/>
          </a:p>
          <a:p>
            <a:pPr marL="0" indent="0">
              <a:spcBef>
                <a:spcPts val="1008"/>
              </a:spcBef>
            </a:pPr>
            <a:r>
              <a:rPr lang="en" sz="605"/>
              <a:t>© Sarah Black / WWF </a:t>
            </a:r>
            <a:endParaRPr sz="605"/>
          </a:p>
          <a:p>
            <a:pPr marL="0" indent="0">
              <a:buClr>
                <a:schemeClr val="dk1"/>
              </a:buClr>
              <a:buSzPts val="1100"/>
            </a:pPr>
            <a:endParaRPr sz="1058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0" indent="0"/>
            <a:endParaRPr/>
          </a:p>
        </p:txBody>
      </p:sp>
      <p:pic>
        <p:nvPicPr>
          <p:cNvPr id="2" name="Google Shape;487;p71">
            <a:extLst>
              <a:ext uri="{FF2B5EF4-FFF2-40B4-BE49-F238E27FC236}">
                <a16:creationId xmlns:a16="http://schemas.microsoft.com/office/drawing/2014/main" id="{5AAFC866-AA01-4D48-8D7B-9C3DAF6E6FC0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t="6685" b="18200"/>
          <a:stretch/>
        </p:blipFill>
        <p:spPr>
          <a:xfrm>
            <a:off x="181000" y="171575"/>
            <a:ext cx="8842675" cy="4414099"/>
          </a:xfrm>
          <a:prstGeom prst="rect">
            <a:avLst/>
          </a:prstGeom>
          <a:noFill/>
          <a:ln>
            <a:noFill/>
          </a:ln>
        </p:spPr>
      </p:pic>
      <p:sp>
        <p:nvSpPr>
          <p:cNvPr id="482" name="Google Shape;482;p70"/>
          <p:cNvSpPr txBox="1">
            <a:spLocks noGrp="1"/>
          </p:cNvSpPr>
          <p:nvPr>
            <p:ph type="title"/>
          </p:nvPr>
        </p:nvSpPr>
        <p:spPr>
          <a:xfrm>
            <a:off x="4343400" y="186628"/>
            <a:ext cx="4886023" cy="4399045"/>
          </a:xfrm>
          <a:prstGeom prst="rect">
            <a:avLst/>
          </a:prstGeom>
          <a:solidFill>
            <a:schemeClr val="bg1"/>
          </a:solidFill>
        </p:spPr>
        <p:txBody>
          <a:bodyPr spcFirstLastPara="1" vert="horz" wrap="square" lIns="172819" tIns="92155" rIns="417987" bIns="92155" rtlCol="0" anchor="b" anchorCtr="0">
            <a:noAutofit/>
          </a:bodyPr>
          <a:lstStyle/>
          <a:p>
            <a:pPr>
              <a:lnSpc>
                <a:spcPct val="115000"/>
              </a:lnSpc>
            </a:pPr>
            <a:r>
              <a:rPr lang="en" sz="2000" dirty="0">
                <a:solidFill>
                  <a:schemeClr val="tx1"/>
                </a:solidFill>
              </a:rPr>
              <a:t>NEW PUBLICATIONS</a:t>
            </a:r>
            <a:br>
              <a:rPr lang="en" dirty="0">
                <a:solidFill>
                  <a:schemeClr val="tx1"/>
                </a:solidFill>
              </a:rPr>
            </a:br>
            <a:br>
              <a:rPr lang="en" sz="1800" b="0" dirty="0">
                <a:solidFill>
                  <a:schemeClr val="tx1"/>
                </a:solidFill>
              </a:rPr>
            </a:br>
            <a:r>
              <a:rPr lang="en-US" sz="1800" b="0" cap="none" dirty="0">
                <a:solidFill>
                  <a:srgbClr val="0070C0"/>
                </a:solidFill>
                <a:latin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egrating Grasslands and Savannahs into National Biodiversity and Climate Commitments</a:t>
            </a:r>
            <a:r>
              <a:rPr lang="en-US" sz="1800" b="0" cap="none" dirty="0">
                <a:solidFill>
                  <a:schemeClr val="tx1"/>
                </a:solidFill>
                <a:latin typeface="+mn-lt"/>
              </a:rPr>
              <a:t> </a:t>
            </a:r>
            <a:br>
              <a:rPr lang="en-US" sz="1800" b="0" i="1" cap="none" dirty="0">
                <a:solidFill>
                  <a:schemeClr val="tx1"/>
                </a:solidFill>
                <a:latin typeface="+mn-lt"/>
              </a:rPr>
            </a:br>
            <a:r>
              <a:rPr lang="en-US" sz="1800" b="0" i="1" cap="none" dirty="0" err="1">
                <a:solidFill>
                  <a:schemeClr val="tx1"/>
                </a:solidFill>
                <a:latin typeface="+mn-lt"/>
              </a:rPr>
              <a:t>Plantlife</a:t>
            </a:r>
            <a:r>
              <a:rPr lang="en-US" sz="1800" b="0" i="1" cap="none" dirty="0">
                <a:solidFill>
                  <a:schemeClr val="tx1"/>
                </a:solidFill>
                <a:latin typeface="+mn-lt"/>
              </a:rPr>
              <a:t>, WWF, Equilibrium Research</a:t>
            </a:r>
            <a:br>
              <a:rPr lang="en-US" sz="1800" b="0" i="1" cap="none" dirty="0">
                <a:solidFill>
                  <a:schemeClr val="tx1"/>
                </a:solidFill>
                <a:latin typeface="+mn-lt"/>
              </a:rPr>
            </a:br>
            <a:br>
              <a:rPr lang="en-US" sz="1800" b="0" cap="none" dirty="0">
                <a:solidFill>
                  <a:schemeClr val="tx1"/>
                </a:solidFill>
                <a:latin typeface="+mn-lt"/>
              </a:rPr>
            </a:br>
            <a:r>
              <a:rPr lang="en-US" sz="1800" b="0" cap="none" dirty="0">
                <a:solidFill>
                  <a:srgbClr val="0070C0"/>
                </a:solidFill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aluing Grasslands: Critical Ecosystems for Nature, Climate and People</a:t>
            </a:r>
            <a:r>
              <a:rPr lang="en-US" sz="1800" b="0" cap="none" dirty="0">
                <a:solidFill>
                  <a:srgbClr val="0070C0"/>
                </a:solidFill>
                <a:latin typeface="+mn-lt"/>
              </a:rPr>
              <a:t> </a:t>
            </a:r>
            <a:br>
              <a:rPr lang="en-US" sz="1800" b="0" cap="none" dirty="0">
                <a:solidFill>
                  <a:schemeClr val="tx1"/>
                </a:solidFill>
                <a:latin typeface="+mn-lt"/>
              </a:rPr>
            </a:br>
            <a:r>
              <a:rPr lang="en-US" sz="1800" b="0" i="1" cap="none" dirty="0">
                <a:solidFill>
                  <a:schemeClr val="tx1"/>
                </a:solidFill>
                <a:latin typeface="+mn-lt"/>
              </a:rPr>
              <a:t>Grasslands, Rangelands, Savannahs and</a:t>
            </a:r>
            <a:br>
              <a:rPr lang="en-US" sz="1800" b="0" i="1" cap="none" dirty="0">
                <a:solidFill>
                  <a:schemeClr val="tx1"/>
                </a:solidFill>
                <a:latin typeface="+mn-lt"/>
              </a:rPr>
            </a:br>
            <a:r>
              <a:rPr lang="en-US" sz="1800" b="0" i="1" cap="none" dirty="0">
                <a:solidFill>
                  <a:schemeClr val="tx1"/>
                </a:solidFill>
                <a:latin typeface="+mn-lt"/>
              </a:rPr>
              <a:t>Shrublands (</a:t>
            </a:r>
            <a:r>
              <a:rPr lang="en-US" sz="1800" b="0" i="1" cap="none" dirty="0" err="1">
                <a:solidFill>
                  <a:schemeClr val="tx1"/>
                </a:solidFill>
                <a:latin typeface="+mn-lt"/>
              </a:rPr>
              <a:t>GRaSS</a:t>
            </a:r>
            <a:r>
              <a:rPr lang="en-US" sz="1800" b="0" i="1" cap="none" dirty="0">
                <a:solidFill>
                  <a:schemeClr val="tx1"/>
                </a:solidFill>
                <a:latin typeface="+mn-lt"/>
              </a:rPr>
              <a:t>) Alliance </a:t>
            </a:r>
            <a:br>
              <a:rPr lang="en-US" sz="1800" b="0" cap="none" dirty="0">
                <a:solidFill>
                  <a:schemeClr val="tx1"/>
                </a:solidFill>
                <a:latin typeface="+mn-lt"/>
              </a:rPr>
            </a:br>
            <a:endParaRPr sz="1800" b="0" dirty="0">
              <a:solidFill>
                <a:schemeClr val="tx1"/>
              </a:solidFill>
              <a:latin typeface="+mn-lt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Fy2ab0UH_HMF87Zrw1q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Zu4DTWSADhy84P03X7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ZdjckK6DguJBvrVhY.Z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qv1sKAg1O1.iLuXhxRM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Fy2ab0UH_HMF87Zrw1q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ymQWblhpxtmTT6.e67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ymQWblhpxtmTT6.e67k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Q5SmfFNPMBn6pUlDEc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i9bdRjTKVjf1J1ZNcOm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hUzkEkW2vjtxNuTJGaJ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guGK4URnh5NoMD1lD9j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aL2D.yr56s7t7YWT2hE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U1Vb5z2VsJ5yNI4_JL4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HZ6h6UXFP5WMhABX33h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KbwdXB_tZbnlRKn0Tdf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XE4c9DrTPZwsSrYdVae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udbl1qx5jF0enVVFB_y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udbl1qx5jF0enVVFB_y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UL3JC_lQXLQct3YB3DT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jHfit18AS0rtnc1DOYl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hlJlXl61h.8k9FHj.wH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fetjdcF__bPl2EB3hsA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rNNRsYuqi3RZ4C1Z6tA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zFUBweLyGf5H2xtiHg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Q5SmfFNPMBn6pUlDEcz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9ULNFd.UbsLuhM67EoP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B9KqsB0U3Pv72ZeFIfT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pk45QKyXOhkgGjquN4U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HJMImof1sng9jv.gmH9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NLVBR4ocGGido7_YdwS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Ai6DDaxrw4XADQ7K0Af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vP6i9LPsGcyj.W_8Mlg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LpMYBHSgCtOH43__mR3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POnRiIg3DyJmsWOUnPz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Zu4DTWSADhy84P03X7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i9bdRjTKVjf1J1ZNcOm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sCu_Y2CTqck_HfT3YWj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4yF0AFCyZ5rMhB10QCG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o2bhiTGpYuDvvBwU5jB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hUzkEkW2vjtxNuTJGaJ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Zu4DTWSADhy84P03X7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ZdjckK6DguJBvrVhY.Z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guGK4URnh5NoMD1lD9j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qv1sKAg1O1.iLuXhxRM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Fy2ab0UH_HMF87Zrw1q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ymQWblhpxtmTT6.e67k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Q5SmfFNPMBn6pUlDEcz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i9bdRjTKVjf1J1ZNcOm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hUzkEkW2vjtxNuTJGaJ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guGK4URnh5NoMD1lD9j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aL2D.yr56s7t7YWT2h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U1Vb5z2VsJ5yNI4_JL4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HZ6h6UXFP5WMhABX33h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aL2D.yr56s7t7YWT2hE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KbwdXB_tZbnlRKn0Tdf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XE4c9DrTPZwsSrYdVae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udbl1qx5jF0enVVFB_y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udbl1qx5jF0enVVFB_y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UL3JC_lQXLQct3YB3DT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jHfit18AS0rtnc1DOYl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hlJlXl61h.8k9FHj.wH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fetjdcF__bPl2EB3hsA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rNNRsYuqi3RZ4C1Z6tA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zFUBweLyGf5H2xtiHgr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9ULNFd.UbsLuhM67EoP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B9KqsB0U3Pv72ZeFIf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pk45QKyXOhkgGjquN4U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HJMImof1sng9jv.gmH9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NLVBR4ocGGido7_YdwS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Ai6DDaxrw4XADQ7K0Af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vP6i9LPsGcyj.W_8Mlg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LpMYBHSgCtOH43__mR3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POnRiIg3DyJmsWOUnPz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sCu_Y2CTqck_HfT3YWj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4yF0AFCyZ5rMhB10QCG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o2bhiTGpYuDvvBwU5jB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U1Vb5z2VsJ5yNI4_JL4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HZ6h6UXFP5WMhABX33h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KbwdXB_tZbnlRKn0Td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ZdjckK6DguJBvrVhY.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XE4c9DrTPZwsSrYdVa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udbl1qx5jF0enVVFB_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udbl1qx5jF0enVVFB_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UL3JC_lQXLQct3YB3D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jHfit18AS0rtnc1DOYl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hlJlXl61h.8k9FHj.wH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fetjdcF__bPl2EB3hs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LcIHaf6iYZZy0L9BD8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rNNRsYuqi3RZ4C1Z6tA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zFUBweLyGf5H2xtiHg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9ULNFd.UbsLuhM67EoP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B9KqsB0U3Pv72ZeFIfT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pk45QKyXOhkgGjquN4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HJMImof1sng9jv.gmH9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NLVBR4ocGGido7_YdwS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Ai6DDaxrw4XADQ7K0Af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vP6i9LPsGcyj.W_8Mlg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qv1sKAg1O1.iLuXhxRM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LpMYBHSgCtOH43__mR3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POnRiIg3DyJmsWOUnPz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sCu_Y2CTqck_HfT3YWj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4yF0AFCyZ5rMhB10QCG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o2bhiTGpYuDvvBwU5j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Custom 140">
      <a:dk1>
        <a:srgbClr val="000000"/>
      </a:dk1>
      <a:lt1>
        <a:sysClr val="window" lastClr="FFFFFF"/>
      </a:lt1>
      <a:dk2>
        <a:srgbClr val="44546A"/>
      </a:dk2>
      <a:lt2>
        <a:srgbClr val="F2F2F2"/>
      </a:lt2>
      <a:accent1>
        <a:srgbClr val="1A2028"/>
      </a:accent1>
      <a:accent2>
        <a:srgbClr val="364354"/>
      </a:accent2>
      <a:accent3>
        <a:srgbClr val="F5D200"/>
      </a:accent3>
      <a:accent4>
        <a:srgbClr val="5A6F8C"/>
      </a:accent4>
      <a:accent5>
        <a:srgbClr val="6E6F73"/>
      </a:accent5>
      <a:accent6>
        <a:srgbClr val="009191"/>
      </a:accent6>
      <a:hlink>
        <a:srgbClr val="F07D00"/>
      </a:hlink>
      <a:folHlink>
        <a:srgbClr val="F07D00"/>
      </a:folHlink>
    </a:clrScheme>
    <a:fontScheme name="Custom 6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1_BCG Grid 16:9">
  <a:themeElements>
    <a:clrScheme name="Custom 140">
      <a:dk1>
        <a:srgbClr val="000000"/>
      </a:dk1>
      <a:lt1>
        <a:sysClr val="window" lastClr="FFFFFF"/>
      </a:lt1>
      <a:dk2>
        <a:srgbClr val="44546A"/>
      </a:dk2>
      <a:lt2>
        <a:srgbClr val="F2F2F2"/>
      </a:lt2>
      <a:accent1>
        <a:srgbClr val="1A2028"/>
      </a:accent1>
      <a:accent2>
        <a:srgbClr val="364354"/>
      </a:accent2>
      <a:accent3>
        <a:srgbClr val="F5D200"/>
      </a:accent3>
      <a:accent4>
        <a:srgbClr val="5A6F8C"/>
      </a:accent4>
      <a:accent5>
        <a:srgbClr val="6E6F73"/>
      </a:accent5>
      <a:accent6>
        <a:srgbClr val="009191"/>
      </a:accent6>
      <a:hlink>
        <a:srgbClr val="F07D00"/>
      </a:hlink>
      <a:folHlink>
        <a:srgbClr val="F07D00"/>
      </a:folHlink>
    </a:clrScheme>
    <a:fontScheme name="Custom 6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2_BCG Grid 16:9">
  <a:themeElements>
    <a:clrScheme name="Custom 140">
      <a:dk1>
        <a:srgbClr val="000000"/>
      </a:dk1>
      <a:lt1>
        <a:sysClr val="window" lastClr="FFFFFF"/>
      </a:lt1>
      <a:dk2>
        <a:srgbClr val="44546A"/>
      </a:dk2>
      <a:lt2>
        <a:srgbClr val="F2F2F2"/>
      </a:lt2>
      <a:accent1>
        <a:srgbClr val="1A2028"/>
      </a:accent1>
      <a:accent2>
        <a:srgbClr val="364354"/>
      </a:accent2>
      <a:accent3>
        <a:srgbClr val="F5D200"/>
      </a:accent3>
      <a:accent4>
        <a:srgbClr val="5A6F8C"/>
      </a:accent4>
      <a:accent5>
        <a:srgbClr val="6E6F73"/>
      </a:accent5>
      <a:accent6>
        <a:srgbClr val="009191"/>
      </a:accent6>
      <a:hlink>
        <a:srgbClr val="F07D00"/>
      </a:hlink>
      <a:folHlink>
        <a:srgbClr val="F07D00"/>
      </a:folHlink>
    </a:clrScheme>
    <a:fontScheme name="Custom 6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Larissa">
  <a:themeElements>
    <a:clrScheme name="WWF">
      <a:dk1>
        <a:srgbClr val="303030"/>
      </a:dk1>
      <a:lt1>
        <a:srgbClr val="FFFFFF"/>
      </a:lt1>
      <a:dk2>
        <a:srgbClr val="3C6323"/>
      </a:dk2>
      <a:lt2>
        <a:srgbClr val="EEECE1"/>
      </a:lt2>
      <a:accent1>
        <a:srgbClr val="00728F"/>
      </a:accent1>
      <a:accent2>
        <a:srgbClr val="009191"/>
      </a:accent2>
      <a:accent3>
        <a:srgbClr val="9A0064"/>
      </a:accent3>
      <a:accent4>
        <a:srgbClr val="812990"/>
      </a:accent4>
      <a:accent5>
        <a:srgbClr val="552F25"/>
      </a:accent5>
      <a:accent6>
        <a:srgbClr val="C4BC8E"/>
      </a:accent6>
      <a:hlink>
        <a:srgbClr val="00728F"/>
      </a:hlink>
      <a:folHlink>
        <a:srgbClr val="812990"/>
      </a:folHlink>
    </a:clrScheme>
    <a:fontScheme name="WWF">
      <a:majorFont>
        <a:latin typeface="WWF"/>
        <a:ea typeface="Geneva"/>
        <a:cs typeface="Arial Unicode MS"/>
      </a:majorFont>
      <a:minorFont>
        <a:latin typeface="Georgia"/>
        <a:ea typeface="Geneva"/>
        <a:cs typeface="Times New Roma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WWF">
      <a:dk1>
        <a:srgbClr val="303030"/>
      </a:dk1>
      <a:lt1>
        <a:srgbClr val="FFFFFF"/>
      </a:lt1>
      <a:dk2>
        <a:srgbClr val="3C6323"/>
      </a:dk2>
      <a:lt2>
        <a:srgbClr val="EEECE1"/>
      </a:lt2>
      <a:accent1>
        <a:srgbClr val="00728F"/>
      </a:accent1>
      <a:accent2>
        <a:srgbClr val="009191"/>
      </a:accent2>
      <a:accent3>
        <a:srgbClr val="9A0064"/>
      </a:accent3>
      <a:accent4>
        <a:srgbClr val="812990"/>
      </a:accent4>
      <a:accent5>
        <a:srgbClr val="552F25"/>
      </a:accent5>
      <a:accent6>
        <a:srgbClr val="C4BC8E"/>
      </a:accent6>
      <a:hlink>
        <a:srgbClr val="00728F"/>
      </a:hlink>
      <a:folHlink>
        <a:srgbClr val="812990"/>
      </a:folHlink>
    </a:clrScheme>
    <a:fontScheme name="WWF">
      <a:majorFont>
        <a:latin typeface="WWF"/>
        <a:ea typeface="Geneva"/>
        <a:cs typeface="Arial Unicode MS"/>
      </a:majorFont>
      <a:minorFont>
        <a:latin typeface="Georgia"/>
        <a:ea typeface="Geneva"/>
        <a:cs typeface="Times New Roma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WF_16-9_red_violet__2019-04-11_ (1)</Template>
  <TotalTime>224</TotalTime>
  <Words>134</Words>
  <Application>Microsoft Office PowerPoint</Application>
  <PresentationFormat>Custom</PresentationFormat>
  <Paragraphs>18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Georgia</vt:lpstr>
      <vt:lpstr>Trebuchet MS</vt:lpstr>
      <vt:lpstr>Wingdings</vt:lpstr>
      <vt:lpstr>BCG Grid 16:9</vt:lpstr>
      <vt:lpstr>1_BCG Grid 16:9</vt:lpstr>
      <vt:lpstr>2_BCG Grid 16:9</vt:lpstr>
      <vt:lpstr>think-cell Slide</vt:lpstr>
      <vt:lpstr>Global Grasslands &amp; Savannahs  Dialogue Platform  Spotlight: North America </vt:lpstr>
      <vt:lpstr>PowerPoint Presentation</vt:lpstr>
      <vt:lpstr>NEW PUBLICATIONS  Integrating Grasslands and Savannahs into National Biodiversity and Climate Commitments  Plantlife, WWF, Equilibrium Research  Valuing Grasslands: Critical Ecosystems for Nature, Climate and People  Grasslands, Rangelands, Savannahs and Shrublands (GRaSS) Alliance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rvey Results</dc:title>
  <dc:creator>Swoboda, Charlie</dc:creator>
  <cp:lastModifiedBy>Alissa Wachter</cp:lastModifiedBy>
  <cp:revision>4</cp:revision>
  <dcterms:created xsi:type="dcterms:W3CDTF">2021-03-23T12:04:44Z</dcterms:created>
  <dcterms:modified xsi:type="dcterms:W3CDTF">2024-01-23T10:57:10Z</dcterms:modified>
</cp:coreProperties>
</file>